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3"/>
    <p:sldMasterId id="2147483743" r:id="rId4"/>
  </p:sldMasterIdLst>
  <p:notesMasterIdLst>
    <p:notesMasterId r:id="rId12"/>
  </p:notesMasterIdLst>
  <p:sldIdLst>
    <p:sldId id="2147481658" r:id="rId5"/>
    <p:sldId id="2147481657" r:id="rId6"/>
    <p:sldId id="2147481651" r:id="rId7"/>
    <p:sldId id="2147481665" r:id="rId8"/>
    <p:sldId id="649" r:id="rId9"/>
    <p:sldId id="2147481667" r:id="rId10"/>
    <p:sldId id="2147481640" r:id="rId11"/>
  </p:sldIdLst>
  <p:sldSz cx="9144000" cy="5143500" type="screen16x9"/>
  <p:notesSz cx="6858000" cy="9144000"/>
  <p:custDataLst>
    <p:tags r:id="rId13"/>
  </p:custDataLst>
  <p:defaultTextStyle>
    <a:defPPr>
      <a:defRPr lang="en-GB"/>
    </a:defPPr>
    <a:lvl1pPr marL="215995" indent="-215995" algn="l" defTabSz="685783" rtl="0" eaLnBrk="1" latinLnBrk="0" hangingPunct="1">
      <a:lnSpc>
        <a:spcPct val="103000"/>
      </a:lnSpc>
      <a:spcBef>
        <a:spcPts val="200"/>
      </a:spcBef>
      <a:spcAft>
        <a:spcPts val="200"/>
      </a:spcAft>
      <a:buFont typeface="Wingdings 3" panose="05040102010807070707" pitchFamily="18" charset="2"/>
      <a:buChar char="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95990" indent="-179996" algn="l" defTabSz="685783" rtl="0" eaLnBrk="1" latinLnBrk="0" hangingPunct="1">
      <a:lnSpc>
        <a:spcPct val="103000"/>
      </a:lnSpc>
      <a:spcBef>
        <a:spcPts val="200"/>
      </a:spcBef>
      <a:spcAft>
        <a:spcPts val="2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57986" indent="-143996" algn="l" defTabSz="685783" rtl="0" eaLnBrk="1" latinLnBrk="0" hangingPunct="1">
      <a:lnSpc>
        <a:spcPct val="103000"/>
      </a:lnSpc>
      <a:spcBef>
        <a:spcPts val="200"/>
      </a:spcBef>
      <a:spcAft>
        <a:spcPts val="200"/>
      </a:spcAft>
      <a:buFont typeface="Arial" panose="020B0604030504040204" pitchFamily="34" charset="0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19982" indent="-143996" algn="l" defTabSz="685783" rtl="0" eaLnBrk="1" latinLnBrk="0" hangingPunct="1">
      <a:lnSpc>
        <a:spcPct val="103000"/>
      </a:lnSpc>
      <a:spcBef>
        <a:spcPts val="200"/>
      </a:spcBef>
      <a:spcAft>
        <a:spcPts val="200"/>
      </a:spcAft>
      <a:buFont typeface="Arial" panose="020B0604030504040204" pitchFamily="34" charset="0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81978" indent="-143996" algn="l" defTabSz="685783" rtl="0" eaLnBrk="1" latinLnBrk="0" hangingPunct="1">
      <a:lnSpc>
        <a:spcPct val="103000"/>
      </a:lnSpc>
      <a:spcBef>
        <a:spcPts val="200"/>
      </a:spcBef>
      <a:spcAft>
        <a:spcPts val="200"/>
      </a:spcAft>
      <a:buFont typeface="Arial" panose="020B0604030504040204" pitchFamily="34" charset="0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043974" indent="-143996" algn="l" defTabSz="685783" rtl="0" eaLnBrk="1" latinLnBrk="0" hangingPunct="1">
      <a:lnSpc>
        <a:spcPct val="103000"/>
      </a:lnSpc>
      <a:spcBef>
        <a:spcPts val="200"/>
      </a:spcBef>
      <a:spcAft>
        <a:spcPts val="200"/>
      </a:spcAft>
      <a:buFont typeface="Arial" panose="020B0604020202020204" pitchFamily="34" charset="0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1205970" indent="-143996" algn="l" defTabSz="685783" rtl="0" eaLnBrk="1" latinLnBrk="0" hangingPunct="1">
      <a:lnSpc>
        <a:spcPct val="103000"/>
      </a:lnSpc>
      <a:spcBef>
        <a:spcPts val="200"/>
      </a:spcBef>
      <a:spcAft>
        <a:spcPts val="200"/>
      </a:spcAft>
      <a:buFont typeface="Arial" panose="020B0604020202020204" pitchFamily="34" charset="0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1367966" indent="-143996" algn="l" defTabSz="685783" rtl="0" eaLnBrk="1" latinLnBrk="0" hangingPunct="1">
      <a:lnSpc>
        <a:spcPct val="103000"/>
      </a:lnSpc>
      <a:spcBef>
        <a:spcPts val="200"/>
      </a:spcBef>
      <a:spcAft>
        <a:spcPts val="200"/>
      </a:spcAft>
      <a:buFont typeface="Arial" panose="020B0604020202020204" pitchFamily="34" charset="0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1529962" indent="-143996" algn="l" defTabSz="685783" rtl="0" eaLnBrk="1" latinLnBrk="0" hangingPunct="1">
      <a:lnSpc>
        <a:spcPct val="103000"/>
      </a:lnSpc>
      <a:spcBef>
        <a:spcPts val="200"/>
      </a:spcBef>
      <a:spcAft>
        <a:spcPts val="200"/>
      </a:spcAft>
      <a:buFont typeface="Arial" panose="020B0604020202020204" pitchFamily="34" charset="0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C9D3D0B-0DEB-18CC-E036-F3A77EBA9BD1}" name="Philippe Glaesener" initials="PG" userId="S::philippe.glaesener@ses.com::25321653-e133-407e-8099-f9487af4a03a" providerId="AD"/>
  <p188:author id="{F5FDF52F-E19E-54DC-6D2C-A5530E4203FA}" name="Irina Douziech" initials="ID" userId="S::Irina.Douziech@ses.com::97e44139-af54-40ee-98bb-4fa70c75eda3" providerId="AD"/>
  <p188:author id="{F7C01077-9668-7005-F74E-22D6036AFC44}" name="Nancy Eskenazi" initials="NE" userId="S::nancy.eskenazi@ses.com::a1dc63ea-35bc-43a0-b86a-e677847fd97a" providerId="AD"/>
  <p188:author id="{24D5AAD7-BFAA-46F2-6388-5C15446374FA}" name="Maria Elisabeth Mertens" initials="MEM" userId="S::Maria.Mertens@ses.com::b2bc34b0-9b8e-48ac-85e0-8765d455f8f5" providerId="AD"/>
  <p188:author id="{ADA934DA-3F5B-ED30-B1BF-D04FF4F9C098}" name="Philippe Glaesener" initials="PG" userId="S::Philippe.Glaesener@ses.com::25321653-e133-407e-8099-f9487af4a03a" providerId="AD"/>
  <p188:author id="{D71288F9-C922-E83B-3427-719247744326}" name="Suzanne Ong" initials="SO" userId="S::Suzanne.Ong@ses.com::941159b5-bc73-4234-ac19-53a0ec26ece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700"/>
    <a:srgbClr val="008732"/>
    <a:srgbClr val="F0F0F0"/>
    <a:srgbClr val="E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817EA92-75D0-4044-A80A-286907CE002B}">
  <a:tblStyle styleId="{0817EA92-75D0-4044-A80A-286907CE001A}" styleName="SES table">
    <a:wholeTbl>
      <a:tcTxStyle>
        <a:fontRef idx="minor">
          <a:prstClr val="black"/>
        </a:fontRef>
        <a:srgbClr val="000000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1270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rgbClr val="505A64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rgbClr val="FFFFFF">
              <a:tint val="100000"/>
              <a:alpha val="0"/>
            </a:srgbClr>
          </a:solidFill>
        </a:fill>
      </a:tcStyle>
    </a:wholeTbl>
    <a:band1H>
      <a:tcStyle>
        <a:tcBdr/>
        <a:fill>
          <a:solidFill>
            <a:srgbClr val="F2F2F2">
              <a:tint val="100000"/>
            </a:srgbClr>
          </a:solidFill>
        </a:fill>
      </a:tcStyle>
    </a:band1H>
    <a:band2H>
      <a:tcStyle>
        <a:tcBdr/>
        <a:fill>
          <a:solidFill>
            <a:srgbClr val="DFE3E7">
              <a:tint val="100000"/>
            </a:srgbClr>
          </a:solidFill>
        </a:fill>
      </a:tcStyle>
    </a:band2H>
    <a:band1V>
      <a:tcStyle>
        <a:tcBdr/>
        <a:fill>
          <a:solidFill>
            <a:srgbClr val="F2F2F2">
              <a:tint val="100000"/>
            </a:srgbClr>
          </a:solidFill>
        </a:fill>
      </a:tcStyle>
    </a:band1V>
    <a:band2V>
      <a:tcStyle>
        <a:tcBdr/>
        <a:fill>
          <a:solidFill>
            <a:srgbClr val="DFE3E7">
              <a:tint val="100000"/>
            </a:srgbClr>
          </a:solidFill>
        </a:fill>
      </a:tcStyle>
    </a:band2V>
    <a:lastCol>
      <a:tcTxStyle b="on">
        <a:fontRef idx="minor">
          <a:prstClr val="black"/>
        </a:fontRef>
        <a:srgbClr val="000000"/>
      </a:tcTxStyle>
      <a:tcStyle>
        <a:tcBdr/>
        <a:fill>
          <a:solidFill>
            <a:srgbClr val="F2F2F2">
              <a:alpha val="100000"/>
            </a:srgbClr>
          </a:solidFill>
        </a:fill>
      </a:tcStyle>
    </a:lastCol>
    <a:firstCol>
      <a:tcTxStyle b="off">
        <a:fontRef idx="minor">
          <a:prstClr val="black"/>
        </a:fontRef>
        <a:srgbClr val="000000"/>
      </a:tcTxStyle>
      <a:tcStyle>
        <a:tcBdr/>
      </a:tcStyle>
    </a:firstCol>
    <a:lastRow>
      <a:tcTxStyle b="on">
        <a:fontRef idx="minor">
          <a:prstClr val="white"/>
        </a:fontRef>
        <a:srgbClr val="FFFFFF"/>
      </a:tcTxStyle>
      <a:tcStyle>
        <a:tcBdr>
          <a:bottom>
            <a:ln w="12700" cmpd="sng">
              <a:solidFill>
                <a:srgbClr val="505A64"/>
              </a:solidFill>
            </a:ln>
          </a:bottom>
        </a:tcBdr>
        <a:fill>
          <a:solidFill>
            <a:srgbClr val="505A64">
              <a:alpha val="100000"/>
            </a:srgbClr>
          </a:solidFill>
        </a:fill>
      </a:tcStyle>
    </a:lastRow>
    <a:firstRow>
      <a:tcTxStyle b="on">
        <a:fontRef idx="major">
          <a:prstClr val="white"/>
        </a:fontRef>
        <a:srgbClr val="FFFFFF"/>
      </a:tcTxStyle>
      <a:tcStyle>
        <a:tcBdr>
          <a:bottom>
            <a:ln w="0" cmpd="sng">
              <a:solidFill>
                <a:srgbClr val="FFFFFF"/>
              </a:solidFill>
            </a:ln>
          </a:bottom>
        </a:tcBdr>
        <a:fill>
          <a:solidFill>
            <a:srgbClr val="0091D2">
              <a:alpha val="100000"/>
            </a:srgbClr>
          </a:solidFill>
        </a:fill>
      </a:tcStyle>
    </a:firstRow>
  </a:tblStyle>
  <a:tblStyle styleId="{0817EA92-75D0-4044-A80A-286907CE002D}" styleName="SES o3b mPOWER table">
    <a:wholeTbl>
      <a:tcTxStyle>
        <a:fontRef idx="minor">
          <a:prstClr val="black"/>
        </a:fontRef>
        <a:srgbClr val="000000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1270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rgbClr val="505A64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rgbClr val="FFFFFF">
              <a:tint val="100000"/>
              <a:alpha val="0"/>
            </a:srgbClr>
          </a:solidFill>
        </a:fill>
      </a:tcStyle>
    </a:wholeTbl>
    <a:band1H>
      <a:tcStyle>
        <a:tcBdr/>
        <a:fill>
          <a:solidFill>
            <a:srgbClr val="F2F2F2">
              <a:tint val="100000"/>
            </a:srgbClr>
          </a:solidFill>
        </a:fill>
      </a:tcStyle>
    </a:band1H>
    <a:band2H>
      <a:tcStyle>
        <a:tcBdr/>
        <a:fill>
          <a:solidFill>
            <a:srgbClr val="DFE3E7">
              <a:tint val="100000"/>
            </a:srgbClr>
          </a:solidFill>
        </a:fill>
      </a:tcStyle>
    </a:band2H>
    <a:band1V>
      <a:tcStyle>
        <a:tcBdr/>
        <a:fill>
          <a:solidFill>
            <a:srgbClr val="F2F2F2">
              <a:tint val="100000"/>
            </a:srgbClr>
          </a:solidFill>
        </a:fill>
      </a:tcStyle>
    </a:band1V>
    <a:band2V>
      <a:tcStyle>
        <a:tcBdr/>
        <a:fill>
          <a:solidFill>
            <a:srgbClr val="DFE3E7">
              <a:tint val="100000"/>
            </a:srgbClr>
          </a:solidFill>
        </a:fill>
      </a:tcStyle>
    </a:band2V>
    <a:lastCol>
      <a:tcTxStyle b="on">
        <a:fontRef idx="minor">
          <a:prstClr val="black"/>
        </a:fontRef>
        <a:srgbClr val="000000"/>
      </a:tcTxStyle>
      <a:tcStyle>
        <a:tcBdr/>
        <a:fill>
          <a:solidFill>
            <a:srgbClr val="F2F2F2">
              <a:alpha val="100000"/>
            </a:srgbClr>
          </a:solidFill>
        </a:fill>
      </a:tcStyle>
    </a:lastCol>
    <a:firstCol>
      <a:tcTxStyle b="off">
        <a:fontRef idx="minor">
          <a:prstClr val="black"/>
        </a:fontRef>
        <a:srgbClr val="000000"/>
      </a:tcTxStyle>
      <a:tcStyle>
        <a:tcBdr/>
      </a:tcStyle>
    </a:firstCol>
    <a:lastRow>
      <a:tcTxStyle b="on">
        <a:fontRef idx="minor">
          <a:prstClr val="white"/>
        </a:fontRef>
        <a:srgbClr val="FFFFFF"/>
      </a:tcTxStyle>
      <a:tcStyle>
        <a:tcBdr>
          <a:bottom>
            <a:ln w="12700" cmpd="sng">
              <a:solidFill>
                <a:srgbClr val="505A64"/>
              </a:solidFill>
            </a:ln>
          </a:bottom>
        </a:tcBdr>
        <a:fill>
          <a:solidFill>
            <a:srgbClr val="505A64">
              <a:alpha val="100000"/>
            </a:srgbClr>
          </a:solidFill>
        </a:fill>
      </a:tcStyle>
    </a:lastRow>
    <a:firstRow>
      <a:tcTxStyle b="on">
        <a:fontRef idx="major">
          <a:prstClr val="white"/>
        </a:fontRef>
        <a:srgbClr val="FFFFFF"/>
      </a:tcTxStyle>
      <a:tcStyle>
        <a:tcBdr>
          <a:bottom>
            <a:ln w="0" cmpd="sng">
              <a:solidFill>
                <a:srgbClr val="FFFFFF"/>
              </a:solidFill>
            </a:ln>
          </a:bottom>
        </a:tcBdr>
        <a:fill>
          <a:solidFill>
            <a:srgbClr val="000000">
              <a:alpha val="100000"/>
            </a:srgbClr>
          </a:solidFill>
        </a:fill>
      </a:tcStyle>
    </a:firstRow>
  </a:tblStyle>
  <a:tblStyle styleId="{0817EA92-75D0-4044-A80A-286907CE002B}" styleName="SES table dark">
    <a:wholeTbl>
      <a:tcTxStyle>
        <a:fontRef idx="minor">
          <a:prstClr val="black"/>
        </a:fontRef>
        <a:srgbClr val="000000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1270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rgbClr val="505A64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rgbClr val="FFFFFF">
              <a:tint val="100000"/>
              <a:alpha val="0"/>
            </a:srgbClr>
          </a:solidFill>
        </a:fill>
      </a:tcStyle>
    </a:wholeTbl>
    <a:band1H>
      <a:tcStyle>
        <a:tcBdr/>
        <a:fill>
          <a:solidFill>
            <a:srgbClr val="F2F2F2">
              <a:tint val="100000"/>
            </a:srgbClr>
          </a:solidFill>
        </a:fill>
      </a:tcStyle>
    </a:band1H>
    <a:band2H>
      <a:tcStyle>
        <a:tcBdr/>
        <a:fill>
          <a:solidFill>
            <a:srgbClr val="AEB8C3">
              <a:tint val="100000"/>
            </a:srgbClr>
          </a:solidFill>
        </a:fill>
      </a:tcStyle>
    </a:band2H>
    <a:band1V>
      <a:tcStyle>
        <a:tcBdr/>
        <a:fill>
          <a:solidFill>
            <a:srgbClr val="F2F2F2">
              <a:tint val="100000"/>
            </a:srgbClr>
          </a:solidFill>
        </a:fill>
      </a:tcStyle>
    </a:band1V>
    <a:band2V>
      <a:tcStyle>
        <a:tcBdr/>
        <a:fill>
          <a:solidFill>
            <a:srgbClr val="AEB8C3">
              <a:tint val="100000"/>
            </a:srgbClr>
          </a:solidFill>
        </a:fill>
      </a:tcStyle>
    </a:band2V>
    <a:lastCol>
      <a:tcTxStyle b="on">
        <a:fontRef idx="minor">
          <a:prstClr val="black"/>
        </a:fontRef>
        <a:srgbClr val="000000"/>
      </a:tcTxStyle>
      <a:tcStyle>
        <a:tcBdr/>
        <a:fill>
          <a:solidFill>
            <a:srgbClr val="F2F2F2">
              <a:alpha val="100000"/>
            </a:srgbClr>
          </a:solidFill>
        </a:fill>
      </a:tcStyle>
    </a:lastCol>
    <a:firstCol>
      <a:tcTxStyle b="off">
        <a:fontRef idx="minor">
          <a:prstClr val="black"/>
        </a:fontRef>
        <a:srgbClr val="000000"/>
      </a:tcTxStyle>
      <a:tcStyle>
        <a:tcBdr/>
      </a:tcStyle>
    </a:firstCol>
    <a:lastRow>
      <a:tcTxStyle b="on">
        <a:fontRef idx="minor">
          <a:prstClr val="white"/>
        </a:fontRef>
        <a:srgbClr val="FFFFFF"/>
      </a:tcTxStyle>
      <a:tcStyle>
        <a:tcBdr>
          <a:bottom>
            <a:ln w="12700" cmpd="sng">
              <a:solidFill>
                <a:srgbClr val="505A64"/>
              </a:solidFill>
            </a:ln>
          </a:bottom>
        </a:tcBdr>
        <a:fill>
          <a:solidFill>
            <a:srgbClr val="505A64">
              <a:alpha val="100000"/>
            </a:srgbClr>
          </a:solidFill>
        </a:fill>
      </a:tcStyle>
    </a:lastRow>
    <a:firstRow>
      <a:tcTxStyle b="on">
        <a:fontRef idx="major">
          <a:prstClr val="white"/>
        </a:fontRef>
        <a:srgbClr val="FFFFFF"/>
      </a:tcTxStyle>
      <a:tcStyle>
        <a:tcBdr>
          <a:bottom>
            <a:ln w="0" cmpd="sng">
              <a:solidFill>
                <a:srgbClr val="FFFFFF"/>
              </a:solidFill>
            </a:ln>
          </a:bottom>
        </a:tcBdr>
        <a:fill>
          <a:solidFill>
            <a:srgbClr val="0091D2">
              <a:alpha val="100000"/>
            </a:srgb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0"/>
    <p:restoredTop sz="82109"/>
  </p:normalViewPr>
  <p:slideViewPr>
    <p:cSldViewPr snapToGrid="0">
      <p:cViewPr varScale="1">
        <p:scale>
          <a:sx n="133" d="100"/>
          <a:sy n="133" d="100"/>
        </p:scale>
        <p:origin x="1456" y="184"/>
      </p:cViewPr>
      <p:guideLst/>
    </p:cSldViewPr>
  </p:slideViewPr>
  <p:notesTextViewPr>
    <p:cViewPr>
      <p:scale>
        <a:sx n="80" d="100"/>
        <a:sy n="80" d="100"/>
      </p:scale>
      <p:origin x="0" y="0"/>
    </p:cViewPr>
  </p:notesTextViewPr>
  <p:notesViewPr>
    <p:cSldViewPr snapToGrid="0">
      <p:cViewPr varScale="1">
        <p:scale>
          <a:sx n="120" d="100"/>
          <a:sy n="120" d="100"/>
        </p:scale>
        <p:origin x="2816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B2F0BF-268A-2E49-B704-C00E51840D4F}" type="datetimeFigureOut">
              <a:rPr lang="en-GB" smtClean="0"/>
              <a:t>27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A298C4-E68E-EF4A-8A4E-217F577F56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248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>
            <a:extLst>
              <a:ext uri="{FF2B5EF4-FFF2-40B4-BE49-F238E27FC236}">
                <a16:creationId xmlns:a16="http://schemas.microsoft.com/office/drawing/2014/main" id="{5113A7FF-9D31-4F12-BEB5-24D17420A01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758825"/>
            <a:ext cx="6170613" cy="3470275"/>
          </a:xfrm>
        </p:spPr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CCD27587-54F4-4D9D-A7C4-07318E8E60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003563-C121-420E-A461-C60EC2D992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38895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</p:spPr>
        <p:txBody>
          <a:bodyPr/>
          <a:lstStyle/>
          <a:p>
            <a:pPr marL="0" indent="0">
              <a:buNone/>
            </a:pPr>
            <a:fld id="{62A298C4-E68E-EF4A-8A4E-217F577F5686}" type="slidenum">
              <a:rPr lang="en-GB" smtClean="0"/>
              <a:pPr marL="0" indent="0">
                <a:buNone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8980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indent="0">
              <a:buNone/>
            </a:pPr>
            <a:fld id="{62A298C4-E68E-EF4A-8A4E-217F577F5686}" type="slidenum">
              <a:rPr lang="en-GB" smtClean="0"/>
              <a:pPr marL="0" indent="0">
                <a:buNone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17733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36CA20-8633-C101-819D-02F8E1964D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C0A332-6DEF-81A1-8A26-CDF9788A69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5DE25C-DC89-7CBD-1CC4-EC374E7B9E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37E692-BA17-81A7-910B-FDDC2E537D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indent="0">
              <a:buNone/>
            </a:pPr>
            <a:fld id="{62A298C4-E68E-EF4A-8A4E-217F577F5686}" type="slidenum">
              <a:rPr lang="en-GB" smtClean="0"/>
              <a:pPr marL="0" indent="0">
                <a:buNone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47045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>
            <a:extLst>
              <a:ext uri="{FF2B5EF4-FFF2-40B4-BE49-F238E27FC236}">
                <a16:creationId xmlns:a16="http://schemas.microsoft.com/office/drawing/2014/main" id="{106E5861-78CA-478B-8BAD-09DDB218F7E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758825"/>
            <a:ext cx="6170613" cy="3470275"/>
          </a:xfrm>
        </p:spPr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E504531-653F-4347-B415-84EFB9CF88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C32E3D-445D-4309-9249-930E02204E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254975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377600-C71E-414C-ECD9-42110BD60C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>
            <a:extLst>
              <a:ext uri="{FF2B5EF4-FFF2-40B4-BE49-F238E27FC236}">
                <a16:creationId xmlns:a16="http://schemas.microsoft.com/office/drawing/2014/main" id="{5E245CFE-3FFA-F88F-3CB9-3E58C853995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758825"/>
            <a:ext cx="6170613" cy="3470275"/>
          </a:xfrm>
        </p:spPr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705BC971-33EA-76E7-F3DA-0D50E3702C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9CA6CB-0C7E-9671-B83A-135CF94070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792374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indent="0">
              <a:buNone/>
            </a:pPr>
            <a:fld id="{62A298C4-E68E-EF4A-8A4E-217F577F5686}" type="slidenum">
              <a:rPr lang="en-GB" smtClean="0"/>
              <a:pPr marL="0" indent="0">
                <a:buNone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6221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hyperlink" Target="http://www.ses.com/blog" TargetMode="External"/><Relationship Id="rId18" Type="http://schemas.openxmlformats.org/officeDocument/2006/relationships/image" Target="../media/image18.svg"/><Relationship Id="rId3" Type="http://schemas.openxmlformats.org/officeDocument/2006/relationships/image" Target="../media/image4.svg"/><Relationship Id="rId7" Type="http://schemas.openxmlformats.org/officeDocument/2006/relationships/hyperlink" Target="http://www.facebook.com/SES.YourSatelliteCompany" TargetMode="External"/><Relationship Id="rId12" Type="http://schemas.openxmlformats.org/officeDocument/2006/relationships/image" Target="../media/image14.sv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hyperlink" Target="https://www.instagram.com/ses_satellites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11" Type="http://schemas.openxmlformats.org/officeDocument/2006/relationships/image" Target="../media/image13.png"/><Relationship Id="rId5" Type="http://schemas.openxmlformats.org/officeDocument/2006/relationships/image" Target="../media/image9.png"/><Relationship Id="rId15" Type="http://schemas.openxmlformats.org/officeDocument/2006/relationships/image" Target="../media/image16.svg"/><Relationship Id="rId10" Type="http://schemas.openxmlformats.org/officeDocument/2006/relationships/hyperlink" Target="http://www.youtube.com/SESVideoChannel" TargetMode="External"/><Relationship Id="rId19" Type="http://schemas.openxmlformats.org/officeDocument/2006/relationships/image" Target="../media/image19.png"/><Relationship Id="rId4" Type="http://schemas.openxmlformats.org/officeDocument/2006/relationships/hyperlink" Target="https://www.linkedin.com/company/ses" TargetMode="External"/><Relationship Id="rId9" Type="http://schemas.openxmlformats.org/officeDocument/2006/relationships/image" Target="../media/image12.svg"/><Relationship Id="rId14" Type="http://schemas.openxmlformats.org/officeDocument/2006/relationships/image" Target="../media/image1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6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9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1.png"/><Relationship Id="rId18" Type="http://schemas.openxmlformats.org/officeDocument/2006/relationships/hyperlink" Target="http://www.ses.com/blog" TargetMode="External"/><Relationship Id="rId3" Type="http://schemas.openxmlformats.org/officeDocument/2006/relationships/image" Target="../media/image4.svg"/><Relationship Id="rId21" Type="http://schemas.openxmlformats.org/officeDocument/2006/relationships/hyperlink" Target="https://www.instagram.com/ses_satellites/" TargetMode="External"/><Relationship Id="rId7" Type="http://schemas.openxmlformats.org/officeDocument/2006/relationships/image" Target="../media/image9.png"/><Relationship Id="rId12" Type="http://schemas.openxmlformats.org/officeDocument/2006/relationships/hyperlink" Target="http://www.facebook.com/SES.YourSatelliteCompany" TargetMode="External"/><Relationship Id="rId17" Type="http://schemas.openxmlformats.org/officeDocument/2006/relationships/image" Target="../media/image14.svg"/><Relationship Id="rId2" Type="http://schemas.openxmlformats.org/officeDocument/2006/relationships/image" Target="../media/image2.png"/><Relationship Id="rId16" Type="http://schemas.openxmlformats.org/officeDocument/2006/relationships/image" Target="../media/image13.png"/><Relationship Id="rId20" Type="http://schemas.openxmlformats.org/officeDocument/2006/relationships/image" Target="../media/image16.svg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www.linkedin.com/company/ses" TargetMode="External"/><Relationship Id="rId11" Type="http://schemas.openxmlformats.org/officeDocument/2006/relationships/image" Target="../media/image32.svg"/><Relationship Id="rId5" Type="http://schemas.openxmlformats.org/officeDocument/2006/relationships/image" Target="../media/image21.svg"/><Relationship Id="rId15" Type="http://schemas.openxmlformats.org/officeDocument/2006/relationships/hyperlink" Target="http://www.youtube.com/SESVideoChannel" TargetMode="External"/><Relationship Id="rId23" Type="http://schemas.openxmlformats.org/officeDocument/2006/relationships/image" Target="../media/image18.svg"/><Relationship Id="rId10" Type="http://schemas.openxmlformats.org/officeDocument/2006/relationships/image" Target="../media/image31.png"/><Relationship Id="rId19" Type="http://schemas.openxmlformats.org/officeDocument/2006/relationships/image" Target="../media/image15.png"/><Relationship Id="rId4" Type="http://schemas.openxmlformats.org/officeDocument/2006/relationships/image" Target="../media/image20.png"/><Relationship Id="rId9" Type="http://schemas.openxmlformats.org/officeDocument/2006/relationships/hyperlink" Target="http://twitter.com/SES_Satellites" TargetMode="External"/><Relationship Id="rId14" Type="http://schemas.openxmlformats.org/officeDocument/2006/relationships/image" Target="../media/image12.svg"/><Relationship Id="rId22" Type="http://schemas.openxmlformats.org/officeDocument/2006/relationships/image" Target="../media/image1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E2A6F737-85BF-4731-B09B-6330A2F9C928}"/>
              </a:ext>
            </a:extLst>
          </p:cNvPr>
          <p:cNvSpPr/>
          <p:nvPr/>
        </p:nvSpPr>
        <p:spPr bwMode="white">
          <a:xfrm>
            <a:off x="250826" y="2"/>
            <a:ext cx="8642350" cy="679438"/>
          </a:xfrm>
          <a:prstGeom prst="rect">
            <a:avLst/>
          </a:prstGeom>
          <a:solidFill>
            <a:srgbClr val="FFFFFF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F088CB3-C717-46DD-98B9-087E49A54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89600" y="255600"/>
            <a:ext cx="5076000" cy="1242120"/>
          </a:xfrm>
        </p:spPr>
        <p:txBody>
          <a:bodyPr tIns="36000" anchor="t" anchorCtr="0">
            <a:noAutofit/>
          </a:bodyPr>
          <a:lstStyle>
            <a:lvl1pPr>
              <a:lnSpc>
                <a:spcPts val="2600"/>
              </a:lnSpc>
              <a:defRPr sz="3200" kern="100" cap="all" spc="-15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</a:t>
            </a:r>
            <a:br>
              <a:rPr lang="en-GB"/>
            </a:br>
            <a:r>
              <a:rPr lang="en-GB"/>
              <a:t>to add </a:t>
            </a:r>
            <a:br>
              <a:rPr lang="en-GB"/>
            </a:br>
            <a:r>
              <a:rPr lang="en-GB"/>
              <a:t>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2328C9AF-0B20-4DDB-9D9D-AE98649B4E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9600" y="1659599"/>
            <a:ext cx="5076000" cy="216000"/>
          </a:xfrm>
        </p:spPr>
        <p:txBody>
          <a:bodyPr wrap="square">
            <a:noAutofit/>
          </a:bodyPr>
          <a:lstStyle>
            <a:lvl1pPr marL="0" indent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12A306E-98CD-4B1E-AAAC-7ED1D52E45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9200" y="1566000"/>
            <a:ext cx="1800000" cy="304800"/>
          </a:xfrm>
          <a:prstGeom prst="rect">
            <a:avLst/>
          </a:prstGeom>
        </p:spPr>
        <p:txBody>
          <a:bodyPr vert="horz" lIns="0" tIns="7200" rIns="0" bIns="0" anchor="t" anchorCtr="0">
            <a:no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[</a:t>
            </a:r>
            <a:r>
              <a:rPr lang="en-GB" noProof="0" err="1"/>
              <a:t>Firstname</a:t>
            </a:r>
            <a:r>
              <a:rPr lang="en-GB" noProof="0"/>
              <a:t> </a:t>
            </a:r>
            <a:r>
              <a:rPr lang="en-GB" noProof="0" err="1"/>
              <a:t>Lastname</a:t>
            </a:r>
            <a:r>
              <a:rPr lang="en-GB" noProof="0"/>
              <a:t>]</a:t>
            </a:r>
          </a:p>
          <a:p>
            <a:pPr lvl="0"/>
            <a:r>
              <a:rPr lang="en-GB" noProof="0"/>
              <a:t>[Job Title]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72C3312B-5C1C-46A7-AEF3-197C99EC5FD7}"/>
              </a:ext>
            </a:extLst>
          </p:cNvPr>
          <p:cNvSpPr txBox="1">
            <a:spLocks/>
          </p:cNvSpPr>
          <p:nvPr/>
        </p:nvSpPr>
        <p:spPr>
          <a:xfrm>
            <a:off x="259200" y="1447200"/>
            <a:ext cx="1800000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3000"/>
              </a:lnSpc>
              <a:spcBef>
                <a:spcPts val="0"/>
              </a:spcBef>
              <a:spcAft>
                <a:spcPts val="0"/>
              </a:spcAft>
              <a:buFont typeface="Wingdings 3" panose="05040102010807070707" pitchFamily="18" charset="2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2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4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6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3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b="1">
                <a:solidFill>
                  <a:schemeClr val="tx1"/>
                </a:solidFill>
              </a:rPr>
              <a:t>Presented by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4C790C-DBB6-4973-81ED-986D70E1E1B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88A9FA-7685-402F-83C7-DAB7851BAC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AACBE9-4919-41AD-B0E1-489F3F106C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Line 9">
            <a:extLst>
              <a:ext uri="{FF2B5EF4-FFF2-40B4-BE49-F238E27FC236}">
                <a16:creationId xmlns:a16="http://schemas.microsoft.com/office/drawing/2014/main" id="{9E008399-4886-4983-A385-6DE9E5E4E75C}"/>
              </a:ext>
            </a:extLst>
          </p:cNvPr>
          <p:cNvSpPr>
            <a:spLocks noChangeShapeType="1"/>
          </p:cNvSpPr>
          <p:nvPr/>
        </p:nvSpPr>
        <p:spPr bwMode="auto">
          <a:xfrm>
            <a:off x="3189289" y="1491608"/>
            <a:ext cx="324577" cy="0"/>
          </a:xfrm>
          <a:prstGeom prst="line">
            <a:avLst/>
          </a:prstGeom>
          <a:noFill/>
          <a:ln w="5715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rgbClr val="000000"/>
              </a:solidFill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3764670A-FE99-4288-9FD0-5F291CF20FA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4827" y="147975"/>
            <a:ext cx="755494" cy="360000"/>
          </a:xfrm>
          <a:prstGeom prst="rect">
            <a:avLst/>
          </a:prstGeom>
        </p:spPr>
      </p:pic>
      <p:sp>
        <p:nvSpPr>
          <p:cNvPr id="30" name="image">
            <a:extLst>
              <a:ext uri="{FF2B5EF4-FFF2-40B4-BE49-F238E27FC236}">
                <a16:creationId xmlns:a16="http://schemas.microsoft.com/office/drawing/2014/main" id="{521C3D7A-F7BC-4E63-8513-2B4609D0669C}"/>
              </a:ext>
            </a:extLst>
          </p:cNvPr>
          <p:cNvSpPr/>
          <p:nvPr/>
        </p:nvSpPr>
        <p:spPr>
          <a:xfrm>
            <a:off x="251999" y="1940400"/>
            <a:ext cx="8640000" cy="2790000"/>
          </a:xfrm>
          <a:prstGeom prst="rect">
            <a:avLst/>
          </a:prstGeom>
          <a:gradFill>
            <a:gsLst>
              <a:gs pos="10000">
                <a:srgbClr val="2C7BC0"/>
              </a:gs>
              <a:gs pos="100000">
                <a:srgbClr val="2ECDF7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ADA2C6C-9908-4A8D-9924-ED9EE6C38054}"/>
              </a:ext>
            </a:extLst>
          </p:cNvPr>
          <p:cNvGrpSpPr/>
          <p:nvPr/>
        </p:nvGrpSpPr>
        <p:grpSpPr>
          <a:xfrm>
            <a:off x="251999" y="1940400"/>
            <a:ext cx="8640000" cy="2790000"/>
            <a:chOff x="251999" y="1923193"/>
            <a:chExt cx="8640000" cy="2790000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A01C933-8409-45EF-9F41-15A28059B687}"/>
                </a:ext>
              </a:extLst>
            </p:cNvPr>
            <p:cNvGrpSpPr/>
            <p:nvPr/>
          </p:nvGrpSpPr>
          <p:grpSpPr>
            <a:xfrm>
              <a:off x="251999" y="1923193"/>
              <a:ext cx="8640000" cy="2790000"/>
              <a:chOff x="251999" y="1923193"/>
              <a:chExt cx="8640000" cy="2790000"/>
            </a:xfrm>
          </p:grpSpPr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F50F3B3-40DB-4362-97C6-119FC5213E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1999" y="2313147"/>
                <a:ext cx="8640000" cy="1196163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74FDE0F-3BF3-4F0D-8FB0-4FDF15AC6F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3323" y="1923193"/>
                <a:ext cx="1160599" cy="279000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2882EC4-3E3B-4F7E-A02C-8214111FAD65}"/>
                </a:ext>
              </a:extLst>
            </p:cNvPr>
            <p:cNvSpPr/>
            <p:nvPr/>
          </p:nvSpPr>
          <p:spPr bwMode="hidden">
            <a:xfrm>
              <a:off x="252000" y="1924342"/>
              <a:ext cx="450000" cy="450000"/>
            </a:xfrm>
            <a:prstGeom prst="rect">
              <a:avLst/>
            </a:prstGeom>
            <a:solidFill>
              <a:srgbClr val="B40082">
                <a:alpha val="0"/>
              </a:srgbClr>
            </a:solidFill>
            <a:ln w="6350">
              <a:solidFill>
                <a:schemeClr val="accent3">
                  <a:alpha val="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>
                <a:solidFill>
                  <a:schemeClr val="bg1"/>
                </a:solidFill>
              </a:endParaRPr>
            </a:p>
          </p:txBody>
        </p:sp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27A8E55-3F99-4120-B0A9-45E1AFD77BB7}"/>
              </a:ext>
            </a:extLst>
          </p:cNvPr>
          <p:cNvCxnSpPr>
            <a:cxnSpLocks/>
          </p:cNvCxnSpPr>
          <p:nvPr/>
        </p:nvCxnSpPr>
        <p:spPr>
          <a:xfrm flipH="1">
            <a:off x="8265600" y="-180000"/>
            <a:ext cx="0" cy="108000"/>
          </a:xfrm>
          <a:prstGeom prst="line">
            <a:avLst/>
          </a:prstGeom>
          <a:ln>
            <a:solidFill>
              <a:srgbClr val="B40082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3722378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A5A912A8-03CE-4C97-A4E1-A77E03E38D2D}"/>
              </a:ext>
            </a:extLst>
          </p:cNvPr>
          <p:cNvGrpSpPr/>
          <p:nvPr/>
        </p:nvGrpSpPr>
        <p:grpSpPr>
          <a:xfrm>
            <a:off x="-1190624" y="-6531"/>
            <a:ext cx="11526223" cy="5158079"/>
            <a:chOff x="-1190625" y="-6531"/>
            <a:chExt cx="11526223" cy="5158079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2740C5E-3083-4A94-810B-AF38E1C1BB5A}"/>
                </a:ext>
              </a:extLst>
            </p:cNvPr>
            <p:cNvGrpSpPr/>
            <p:nvPr/>
          </p:nvGrpSpPr>
          <p:grpSpPr>
            <a:xfrm>
              <a:off x="-250463" y="4733099"/>
              <a:ext cx="9646463" cy="418449"/>
              <a:chOff x="-250463" y="-3"/>
              <a:chExt cx="9646463" cy="731133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19EBC4A-29C9-495A-BF04-E2CEE4605375}"/>
                  </a:ext>
                </a:extLst>
              </p:cNvPr>
              <p:cNvSpPr/>
              <p:nvPr/>
            </p:nvSpPr>
            <p:spPr>
              <a:xfrm>
                <a:off x="-250463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6BC7015-8488-49F9-8061-FEF8A4D44F2D}"/>
                  </a:ext>
                </a:extLst>
              </p:cNvPr>
              <p:cNvSpPr/>
              <p:nvPr/>
            </p:nvSpPr>
            <p:spPr>
              <a:xfrm>
                <a:off x="9215999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CE65027-2C79-4472-9CB9-2BDF2ACAA922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FA3D6455-AE86-4AF8-BE94-F01707820550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00DF766-5241-4927-BD4B-0C001F9F07AC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85F6D88-C30B-4E7E-9303-DCD3D51D56FF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3F2F5D93-C61E-48AB-89CC-DCD08BE93F8E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0EB0EF-8349-4E50-A672-EC40D1B22E8E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D33A11-9249-4F11-9ADF-23A744BB8E59}"/>
                </a:ext>
              </a:extLst>
            </p:cNvPr>
            <p:cNvGrpSpPr/>
            <p:nvPr/>
          </p:nvGrpSpPr>
          <p:grpSpPr>
            <a:xfrm>
              <a:off x="-1190625" y="1386921"/>
              <a:ext cx="11526223" cy="3347078"/>
              <a:chOff x="-1190625" y="-1"/>
              <a:chExt cx="11526223" cy="71706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0AED171-8893-45BC-A861-80F9B9CD1697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F054C08D-B8E0-4396-9079-3259ABB4859C}"/>
                  </a:ext>
                </a:extLst>
              </p:cNvPr>
              <p:cNvSpPr/>
              <p:nvPr/>
            </p:nvSpPr>
            <p:spPr>
              <a:xfrm>
                <a:off x="9215999" y="-1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B59CA24-3244-464A-BCD0-35E4DCCF1E28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A7FDA93-3E4A-43D5-B623-99414D2A3BC2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DE47B6D-40F5-4C0E-B929-D419D502C45E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14048F1-5542-49E6-9443-4F6EE6B751F6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1393200"/>
            <a:ext cx="8640000" cy="3340800"/>
          </a:xfrm>
          <a:solidFill>
            <a:srgbClr val="505A64"/>
          </a:solidFill>
        </p:spPr>
        <p:txBody>
          <a:bodyPr lIns="180000" tIns="180000" rIns="180000" bIns="18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rag and drop a photo here or </a:t>
            </a:r>
            <a:br>
              <a:rPr lang="en-GB" noProof="0"/>
            </a:br>
            <a:r>
              <a:rPr lang="en-GB" noProof="0"/>
              <a:t>Click in this space and go to insert &gt; pictur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3A1A4-DDCD-44BA-8D4C-BC03A66ECF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|  20 May 2022</a:t>
            </a:r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A8B72A-3190-4D6A-9231-04746F48E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9955AE-3630-4CAF-97E5-6195210432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22024E-B457-48F8-8DC2-98D07004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01EE3C3-13C4-4EF6-AC2B-133BA0FED4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002" y="1393200"/>
            <a:ext cx="5878924" cy="3340800"/>
          </a:xfrm>
          <a:gradFill>
            <a:gsLst>
              <a:gs pos="69000">
                <a:schemeClr val="bg1">
                  <a:alpha val="0"/>
                </a:schemeClr>
              </a:gs>
              <a:gs pos="43000">
                <a:schemeClr val="tx2">
                  <a:alpha val="50000"/>
                </a:schemeClr>
              </a:gs>
            </a:gsLst>
            <a:lin ang="1800000" scaled="0"/>
          </a:gradFill>
        </p:spPr>
        <p:txBody>
          <a:bodyPr lIns="252000" tIns="252000" rIns="252000" bIns="252000" numCol="2" spcCol="180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230047E-A3EC-434E-BD11-C032D1E99187}"/>
              </a:ext>
            </a:extLst>
          </p:cNvPr>
          <p:cNvSpPr/>
          <p:nvPr/>
        </p:nvSpPr>
        <p:spPr>
          <a:xfrm>
            <a:off x="8513384" y="2033643"/>
            <a:ext cx="252412" cy="252412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</p:spTree>
    <p:extLst>
      <p:ext uri="{BB962C8B-B14F-4D97-AF65-F5344CB8AC3E}">
        <p14:creationId xmlns:p14="http://schemas.microsoft.com/office/powerpoint/2010/main" val="327436305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 imag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EE2B05E9-A9F0-4324-9D56-35293FC024E8}"/>
              </a:ext>
            </a:extLst>
          </p:cNvPr>
          <p:cNvGrpSpPr/>
          <p:nvPr/>
        </p:nvGrpSpPr>
        <p:grpSpPr>
          <a:xfrm>
            <a:off x="-1190624" y="-6531"/>
            <a:ext cx="11526223" cy="5158079"/>
            <a:chOff x="-1190625" y="-6531"/>
            <a:chExt cx="11526223" cy="5158079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A76FF9A-F6E5-43B8-A5FD-E85994D3423A}"/>
                </a:ext>
              </a:extLst>
            </p:cNvPr>
            <p:cNvGrpSpPr/>
            <p:nvPr/>
          </p:nvGrpSpPr>
          <p:grpSpPr>
            <a:xfrm>
              <a:off x="-250463" y="4733099"/>
              <a:ext cx="9646463" cy="418449"/>
              <a:chOff x="-250463" y="-3"/>
              <a:chExt cx="9646463" cy="731133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76424D0-95D1-4E15-A0B2-5E7BF6D8C74C}"/>
                  </a:ext>
                </a:extLst>
              </p:cNvPr>
              <p:cNvSpPr/>
              <p:nvPr/>
            </p:nvSpPr>
            <p:spPr>
              <a:xfrm>
                <a:off x="-250463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F76587FC-FA4C-4CA7-BE8A-091F2460B88F}"/>
                  </a:ext>
                </a:extLst>
              </p:cNvPr>
              <p:cNvSpPr/>
              <p:nvPr/>
            </p:nvSpPr>
            <p:spPr>
              <a:xfrm>
                <a:off x="9215999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CE9A02A-60DC-4F2F-99E2-885EC79F35E1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0BC5CDC-397C-402C-88A9-697CA6477677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489C639B-109E-42AD-8EE6-7B597189DEF0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43F903F-43B6-48F4-822F-82996038E330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4057202"/>
              <a:chOff x="-1190625" y="-152136"/>
              <a:chExt cx="11526223" cy="869204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47B2199-B88F-4B05-BD2A-FC7215AC2F99}"/>
                  </a:ext>
                </a:extLst>
              </p:cNvPr>
              <p:cNvSpPr/>
              <p:nvPr/>
            </p:nvSpPr>
            <p:spPr>
              <a:xfrm>
                <a:off x="-1190625" y="-152136"/>
                <a:ext cx="1120163" cy="869204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CCADA1B-A400-4568-8350-DF2FABA0607A}"/>
                  </a:ext>
                </a:extLst>
              </p:cNvPr>
              <p:cNvSpPr/>
              <p:nvPr/>
            </p:nvSpPr>
            <p:spPr>
              <a:xfrm>
                <a:off x="9215999" y="-152136"/>
                <a:ext cx="1119599" cy="869204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CF04F29-19B3-4E72-83BE-83CB99E8280D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4057201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2DCC3F4-34EE-45EB-BC85-36DBBCDD2BE3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4057201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676800"/>
            <a:ext cx="8640000" cy="4057200"/>
          </a:xfrm>
          <a:solidFill>
            <a:srgbClr val="505A64"/>
          </a:solidFill>
        </p:spPr>
        <p:txBody>
          <a:bodyPr lIns="180000" tIns="180000" rIns="180000" bIns="18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rag and drop a photo here or </a:t>
            </a:r>
            <a:br>
              <a:rPr lang="en-GB" noProof="0"/>
            </a:br>
            <a:r>
              <a:rPr lang="en-GB" noProof="0"/>
              <a:t>Click in this space and go to insert &gt; pictur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3A1A4-DDCD-44BA-8D4C-BC03A66ECF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|  20 May 2022</a:t>
            </a:r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A8B72A-3190-4D6A-9231-04746F48E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9955AE-3630-4CAF-97E5-6195210432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01EE3C3-13C4-4EF6-AC2B-133BA0FED4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002" y="676800"/>
            <a:ext cx="5878924" cy="4057200"/>
          </a:xfrm>
          <a:gradFill>
            <a:gsLst>
              <a:gs pos="69000">
                <a:schemeClr val="bg1">
                  <a:alpha val="0"/>
                </a:schemeClr>
              </a:gs>
              <a:gs pos="43000">
                <a:schemeClr val="tx2">
                  <a:alpha val="50000"/>
                </a:schemeClr>
              </a:gs>
            </a:gsLst>
            <a:lin ang="1800000" scaled="0"/>
          </a:gradFill>
        </p:spPr>
        <p:txBody>
          <a:bodyPr lIns="360000" tIns="360000" rIns="1800000" bIns="360000" numCol="1" spcCol="180000"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230047E-A3EC-434E-BD11-C032D1E99187}"/>
              </a:ext>
            </a:extLst>
          </p:cNvPr>
          <p:cNvSpPr/>
          <p:nvPr/>
        </p:nvSpPr>
        <p:spPr>
          <a:xfrm>
            <a:off x="8513384" y="1317243"/>
            <a:ext cx="252412" cy="252412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</p:spTree>
    <p:extLst>
      <p:ext uri="{BB962C8B-B14F-4D97-AF65-F5344CB8AC3E}">
        <p14:creationId xmlns:p14="http://schemas.microsoft.com/office/powerpoint/2010/main" val="2357042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16815E80-8527-4B9C-881B-B9FFEDBF5F6C}"/>
              </a:ext>
            </a:extLst>
          </p:cNvPr>
          <p:cNvGrpSpPr/>
          <p:nvPr/>
        </p:nvGrpSpPr>
        <p:grpSpPr>
          <a:xfrm>
            <a:off x="-1190624" y="-6531"/>
            <a:ext cx="11526223" cy="5158079"/>
            <a:chOff x="-1190625" y="-6531"/>
            <a:chExt cx="11526223" cy="515807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DDE179D-52C7-47D8-9C4B-23D1FD55D819}"/>
                </a:ext>
              </a:extLst>
            </p:cNvPr>
            <p:cNvGrpSpPr/>
            <p:nvPr/>
          </p:nvGrpSpPr>
          <p:grpSpPr>
            <a:xfrm>
              <a:off x="-250463" y="4733099"/>
              <a:ext cx="9646463" cy="418449"/>
              <a:chOff x="-250463" y="-3"/>
              <a:chExt cx="9646463" cy="731133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BB611C44-211E-411D-9EF4-C07BE6756B39}"/>
                  </a:ext>
                </a:extLst>
              </p:cNvPr>
              <p:cNvSpPr/>
              <p:nvPr/>
            </p:nvSpPr>
            <p:spPr>
              <a:xfrm>
                <a:off x="-250463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7A9D643-D5ED-4166-84A2-2D055144CEEA}"/>
                  </a:ext>
                </a:extLst>
              </p:cNvPr>
              <p:cNvSpPr/>
              <p:nvPr/>
            </p:nvSpPr>
            <p:spPr>
              <a:xfrm>
                <a:off x="9215999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E6984412-12A7-4B99-9C43-67D0ABD0C974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B239002C-5935-4D90-99B4-25491CD819DB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D126DED2-2A06-44A2-9761-876AB6D48DF3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B3F78A3-A067-4EE2-867C-38B2303D9CFA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38A411FF-73AE-454E-9AD9-726B2957E6F3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F9273D3D-B42B-4352-8A5C-1441A832B3EA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8FFE1BB-7B86-4841-B6F0-AEC4AFE25053}"/>
                </a:ext>
              </a:extLst>
            </p:cNvPr>
            <p:cNvGrpSpPr/>
            <p:nvPr/>
          </p:nvGrpSpPr>
          <p:grpSpPr>
            <a:xfrm>
              <a:off x="-1190625" y="1386921"/>
              <a:ext cx="11526223" cy="3347078"/>
              <a:chOff x="-1190625" y="-1"/>
              <a:chExt cx="11526223" cy="717069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63CB688-B30D-47DD-A477-E59B422480B7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9CA2BE2-2770-4C01-B509-1526B39C50AB}"/>
                  </a:ext>
                </a:extLst>
              </p:cNvPr>
              <p:cNvSpPr/>
              <p:nvPr/>
            </p:nvSpPr>
            <p:spPr>
              <a:xfrm>
                <a:off x="9215999" y="-1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9EBAA7E-A7A0-4504-B41C-F3F7A5956055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000435D-D58E-41B9-BC0B-A3554B96483D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F2722A6-39D3-434E-B003-B2DDCBB4D036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6EB91AD-1B47-4A26-983E-9400C984C235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16000" y="1393200"/>
            <a:ext cx="4176000" cy="33408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393200"/>
            <a:ext cx="4176000" cy="3340800"/>
          </a:xfrm>
        </p:spPr>
        <p:txBody>
          <a:bodyPr/>
          <a:lstStyle/>
          <a:p>
            <a:r>
              <a:rPr lang="en-GB" noProof="0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3A1A4-DDCD-44BA-8D4C-BC03A66ECF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A8B72A-3190-4D6A-9231-04746F48E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9955AE-3630-4CAF-97E5-6195210432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22024E-B457-48F8-8DC2-98D07004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307288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C58F216-9296-423F-A61F-DDF57A6EA1DC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CE54DED-4213-449D-A6E2-AE64D43DB16E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B37D1B5A-D278-4D9A-9BA6-A3287E897E3E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D75664-C734-4A3E-9189-8131C232C1C1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411FDDC-B444-49EC-BC26-F92D7203671A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18E26659-C7B8-459B-8412-6948EBB54F98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D3D09864-3871-4F6A-94D6-3FF80963F30B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599F9E9-EC57-4E9F-8E54-36A976EF6600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3E278851-C0D2-489E-B8AA-05CDFBEC20C0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C7C2021-4867-4701-8FAB-FD95E1EFDEEE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92DFC17-2569-4425-B181-9CA68C05EA9A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14FA4E1-DD0B-4EAD-964A-0EDD50C37B1F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D35F684-7C16-4BA1-BAB5-D0ECA0A53273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BF6234F-6740-46F1-9A9A-2C19874EDC6B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4B51A0D-0993-46D9-B223-25C996C18AEE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EAD2BBB-E88F-4A44-A9BA-72196F6206A3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24B3640-15F5-44A3-9532-0B622545D8B3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000" y="1393200"/>
            <a:ext cx="4176000" cy="33408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16000" y="1393200"/>
            <a:ext cx="4176000" cy="3340800"/>
          </a:xfrm>
        </p:spPr>
        <p:txBody>
          <a:bodyPr/>
          <a:lstStyle/>
          <a:p>
            <a:r>
              <a:rPr lang="en-GB" noProof="0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92305D-1255-4670-823E-CE244D3E200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9CEFED-564F-46B9-8F49-6882552F6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6BBCCF2-011D-48D1-8F84-DD12795234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D103A0-4AAC-4868-99D7-B10D8DFC2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44243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 with ca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C373A74A-F71C-467C-9661-3A23EAB6C801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210C957-29BE-4EBC-84E2-ADC9CF5D6D87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07B8CD9-EFD0-4A24-9C45-B6E1DC8E59AF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9075A62-9697-44B1-A6E9-B63B4DB2F6AD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FAB2ED4-86CB-40D7-8D9D-09C2B504F110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E730E54-26FD-4713-BD0E-78D39715831F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1AAECC00-0E62-403C-8748-DA4EF133E17E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5AEE4AE-CD54-48F9-9462-2702972EBDA8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1396F938-C64C-438D-8DE3-3670D225A5F9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6308F288-2A23-4770-9CAA-A6B21DF30983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9F6EDEB-81D2-4E3B-91B3-1269602D96D7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6BAAC9E-08DC-4331-A756-E47E32310BFA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65132F18-FAE1-4EDE-86F7-61A59E3F3D11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D66D42F-EE90-4EF1-8862-2AE786E3DF09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76B0303-E452-4847-BB54-D1B0BAE26F7D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FCF35AE-696C-4568-811C-E83BB46BFA75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3102F5E-0874-4B2C-AB59-14094C7105E0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393200"/>
            <a:ext cx="4176000" cy="3204000"/>
          </a:xfrm>
        </p:spPr>
        <p:txBody>
          <a:bodyPr/>
          <a:lstStyle/>
          <a:p>
            <a:r>
              <a:rPr lang="en-GB" noProof="0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EDA851-5E93-405D-A4F0-1CD43A59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647BFB1-D38D-484B-BDCE-58A1F0B3FF8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759372B-8F70-40B5-B0C9-4B32F87727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16000" y="1393200"/>
            <a:ext cx="4176000" cy="33408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36D9D8-40D9-4F80-B7CB-B52EDA45D3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4626000"/>
            <a:ext cx="4176000" cy="108000"/>
          </a:xfrm>
          <a:solidFill>
            <a:schemeClr val="bg1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700" i="1"/>
            </a:lvl1pPr>
          </a:lstStyle>
          <a:p>
            <a:pPr lvl="0"/>
            <a:r>
              <a:rPr lang="en-GB"/>
              <a:t>Click to edit cap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A2CD2B-498C-4460-9D08-72D13E246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35980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ca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7CA084FF-6E31-C6BE-E200-D676C1A95210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5A5CA1F-98B7-AC15-FE45-0EEBFB2408D5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67562213-5E0A-B552-E61B-BA72D4D2ED6E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8E269939-4DAD-8D66-8BBD-BCE304BF6A1E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6BC6724-36DB-1498-E5B5-F82286AC69A4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FC291D22-C801-12D3-141B-393D08783B25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6CC6540B-7EFD-8381-06C0-D7DCECF7D7B4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EE0CA86-66D2-A1B1-94C4-06F7230788F3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773BBE20-6DD2-BB72-0C27-1C7321711193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57992CF4-9B61-BAFB-9F5D-238ADB034197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4DDC173-7371-6AD1-1ED6-E80BD467799F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E1184FFB-9C5A-ECCB-9E83-2D15229C3801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8F6E903D-C186-F907-BEDA-5FE1B2BCE6C5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1808EA0-B81C-74E0-964B-2436AAAC7036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5AF5A33-34E1-B61E-CB3F-AE9EEE3DA627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526ADEB-8371-5C9E-1CA0-39A61D637922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5BEA1E1-CAF4-3CB3-8616-7879A6312366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16000" y="1393200"/>
            <a:ext cx="4176000" cy="3204000"/>
          </a:xfrm>
        </p:spPr>
        <p:txBody>
          <a:bodyPr/>
          <a:lstStyle/>
          <a:p>
            <a:r>
              <a:rPr lang="en-GB" noProof="0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AAEC77-EBDA-4058-8E87-C60A5C259F4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465773-7A35-48FF-AA45-9D0352E2DAF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B249F9E-24B5-4C28-913C-3B6BB20C58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000" y="1393200"/>
            <a:ext cx="4176000" cy="33408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36D9D8-40D9-4F80-B7CB-B52EDA45D3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16000" y="4626000"/>
            <a:ext cx="4176000" cy="108000"/>
          </a:xfrm>
          <a:solidFill>
            <a:schemeClr val="bg1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700" i="1"/>
            </a:lvl1pPr>
          </a:lstStyle>
          <a:p>
            <a:pPr lvl="0"/>
            <a:r>
              <a:rPr lang="en-GB"/>
              <a:t>Click to edit cap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A65924D-9054-4FDA-9BC8-B45E110E3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8906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0C07FB81-0C32-80C9-BBB9-5B7BCB3D03F7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A34B603C-BCB7-0FBF-7430-A403326BBF19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6B29BBD-B58F-2ACD-7477-13A36E8317C9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B28199D7-BF51-9B5C-5FA2-C325330C0734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CE8DC90-0E64-069C-0BE5-3B8257DBECB9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E8288048-31D3-ABB4-6E02-31C04A6F740B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F6DC728-D23A-2EBF-ED28-5FDCC3EDA63E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C8CD5D9F-0E4C-086B-73C5-C32024F02627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82435018-3371-4D97-6241-8A5AA5527439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65402538-1FED-37E9-4810-34DBB09C2758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A9A5953-8CC4-5508-5B38-F5DD669B5F6B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F4772B4-51DF-6A0D-EB67-CD2F8E7F433F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9D0F8904-160C-F28A-055C-3F14072EA123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36750A9-2769-03BE-A8F5-68C6409DB647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3841B20-AC76-B1B7-AE4A-3DC63E879C65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F952536-F76E-C30B-7AD9-92E92D3290E2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4DC1090-289A-8833-C92C-F5877ED7C998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393200"/>
            <a:ext cx="8640000" cy="3340800"/>
          </a:xfrm>
        </p:spPr>
        <p:txBody>
          <a:bodyPr/>
          <a:lstStyle/>
          <a:p>
            <a:r>
              <a:rPr lang="en-GB" noProof="0"/>
              <a:t>Click icon to add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8C959F-8DB9-47AF-8782-A96486D64A5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8D5D7A-5A9C-4626-BA9B-FF45CA28F3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E5AA49B-12DA-4D36-AC60-9C67905FB4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36BCC82-7635-469E-ADF6-3223ECDD7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322607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B24E1E0E-2BB6-6F6C-6AC0-0AF42C610CEE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B9D4ADC-80D0-8BDB-4371-3B1F1340A4F6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2794EBBA-DBA6-4C99-9373-CBE5FEF2A27A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2ECD295E-D696-A681-2D3E-AF6E43FBB467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A73421B-37DA-572D-956B-01E45C042D72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D9112DAD-DB2C-076E-3288-67A8B03334D9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7DF55F86-F3D5-F48B-7CE9-E7BE5A620B14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FDB49C3-3040-6097-410E-7D3748B87AE7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E86EFEA-96AC-7185-B5B1-3A3EB100D897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09BE739-106F-C0D6-2F30-6D29B63DA370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BFD1E0DC-3066-3B92-C831-7CC00CD35D28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74DCE0A-DA61-40C7-12D7-706BA4E8EC30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5CA50837-7986-F2B9-EE6F-8A18C247933D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21E71E2-BA9C-9F91-6BD5-C42DD78ACE60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AD90E95-0A93-CCC8-C8A9-999A7CE2B1BE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0AC722F-16AB-3505-A491-C60710FF1857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840F571-7259-C382-39C4-668FE56B072B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393200"/>
            <a:ext cx="8640000" cy="3146400"/>
          </a:xfrm>
        </p:spPr>
        <p:txBody>
          <a:bodyPr/>
          <a:lstStyle/>
          <a:p>
            <a:r>
              <a:rPr lang="en-GB" noProof="0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36D9D8-40D9-4F80-B7CB-B52EDA45D3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4539600"/>
            <a:ext cx="8640000" cy="108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700" i="1"/>
            </a:lvl1pPr>
          </a:lstStyle>
          <a:p>
            <a:pPr lvl="0"/>
            <a:r>
              <a:rPr lang="en-GB"/>
              <a:t>Click to edit ca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D83327-20D6-4264-8A2A-39BE937EBAF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4C8889-9D51-45F3-A9C6-9B54B49014D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A44E52-1D58-4F87-8BF2-51DCC916DEB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49968FD-75C7-479F-B90F-721898ED6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25053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687C502C-D5D6-4A6C-87CD-6F572A08ED59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ED23A51-0CAB-47E3-B343-E999FE29E700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A68B625-6F9D-4382-BFFD-29A4C93BCAA7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E8657B4-40D6-4E7F-94A3-642FB2A08900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848D076-EE06-49A6-81D1-F24D54D10FF6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14A779A-DBB3-47F9-9E99-3820FACA7104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6788446-7A44-49E5-AA7D-8CE2F76951E9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E56BCF0-AB70-4BEA-B9EC-79A76D8FDF2B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806516"/>
              <a:chOff x="-1190625" y="-1"/>
              <a:chExt cx="11526223" cy="1147218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2E370A6-0516-4B1F-88E0-25739EC0648C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28B94667-48EC-4F3D-9C36-41D89C98D656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5135D77-929C-404C-B5B5-D419B3756D2F}"/>
                  </a:ext>
                </a:extLst>
              </p:cNvPr>
              <p:cNvSpPr/>
              <p:nvPr/>
            </p:nvSpPr>
            <p:spPr>
              <a:xfrm>
                <a:off x="-1190625" y="737554"/>
                <a:ext cx="1120163" cy="409663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F2E76026-D804-4E01-A4DC-12F348925FD6}"/>
                  </a:ext>
                </a:extLst>
              </p:cNvPr>
              <p:cNvSpPr/>
              <p:nvPr/>
            </p:nvSpPr>
            <p:spPr>
              <a:xfrm>
                <a:off x="9215998" y="737554"/>
                <a:ext cx="1119600" cy="409663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BAE9042-4A67-4A72-B1D4-B28D8E213AD5}"/>
                </a:ext>
              </a:extLst>
            </p:cNvPr>
            <p:cNvGrpSpPr/>
            <p:nvPr/>
          </p:nvGrpSpPr>
          <p:grpSpPr>
            <a:xfrm>
              <a:off x="-1190625" y="1619999"/>
              <a:ext cx="11526223" cy="3114000"/>
              <a:chOff x="-1190625" y="49933"/>
              <a:chExt cx="11526223" cy="667135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C32FC3A3-AD71-4F73-B5FF-9E436CB89716}"/>
                  </a:ext>
                </a:extLst>
              </p:cNvPr>
              <p:cNvSpPr/>
              <p:nvPr/>
            </p:nvSpPr>
            <p:spPr>
              <a:xfrm>
                <a:off x="-1190625" y="49933"/>
                <a:ext cx="1120163" cy="66713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17329E0D-70A0-4409-B311-5D01102D7101}"/>
                  </a:ext>
                </a:extLst>
              </p:cNvPr>
              <p:cNvSpPr/>
              <p:nvPr/>
            </p:nvSpPr>
            <p:spPr>
              <a:xfrm>
                <a:off x="9215999" y="49933"/>
                <a:ext cx="1119599" cy="66713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2FAADC8-A12F-4757-8CDF-22A0F57EB09D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5E5460D-987C-4CB3-8E59-AD9D0C5BC215}"/>
                </a:ext>
              </a:extLst>
            </p:cNvPr>
            <p:cNvSpPr txBox="1"/>
            <p:nvPr/>
          </p:nvSpPr>
          <p:spPr>
            <a:xfrm>
              <a:off x="-1190625" y="1620000"/>
              <a:ext cx="938624" cy="311399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26D82C1-BD9F-420B-A65B-13FFF6DBF7CE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D8972BA-77C0-4051-99F0-42F9823AF187}"/>
                </a:ext>
              </a:extLst>
            </p:cNvPr>
            <p:cNvSpPr txBox="1"/>
            <p:nvPr/>
          </p:nvSpPr>
          <p:spPr>
            <a:xfrm>
              <a:off x="9396974" y="1620000"/>
              <a:ext cx="938624" cy="311399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84F13BA-7B44-4817-B7DF-CB1D39CDA07B}"/>
                </a:ext>
              </a:extLst>
            </p:cNvPr>
            <p:cNvSpPr txBox="1"/>
            <p:nvPr/>
          </p:nvSpPr>
          <p:spPr>
            <a:xfrm>
              <a:off x="-1190625" y="1195312"/>
              <a:ext cx="938624" cy="288001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021052B-A3C2-495B-92D0-30DEA74C863B}"/>
                </a:ext>
              </a:extLst>
            </p:cNvPr>
            <p:cNvSpPr txBox="1"/>
            <p:nvPr/>
          </p:nvSpPr>
          <p:spPr>
            <a:xfrm>
              <a:off x="9396974" y="1195312"/>
              <a:ext cx="938624" cy="288001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E82758-8F0B-4F32-9F0E-0109B5A876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195314"/>
            <a:ext cx="8640000" cy="288000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2EE6254-B5C9-4CDE-8D0E-3D7A3D2DC38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52000" y="1620000"/>
            <a:ext cx="8640000" cy="2905198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F516189-9BEB-40D3-99C0-92390F75BB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2000" y="4539600"/>
            <a:ext cx="8640000" cy="108000"/>
          </a:xfrm>
        </p:spPr>
        <p:txBody>
          <a:bodyPr/>
          <a:lstStyle>
            <a:lvl1pPr marL="0" indent="0">
              <a:buNone/>
              <a:defRPr sz="700" i="1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05462C-5E2C-4E60-BAEC-7D1914F31AC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BEB699-48C8-425F-9080-5CBD1CD55FD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FE21B59-2626-4F98-B21D-C66CC8EA45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C33EF2-393B-4E35-A8CF-850DBC75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4472557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s slide internal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6CEBDE4D-53C0-4582-9375-4752F0A2B5C6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38A8890-118F-4CA9-98B1-5DA71A51C3D7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69F2B0D3-FA68-4EAD-8097-AE6B55768AA6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9022C0B8-200C-4224-8B97-69ECDFF64585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E1BC9B1-0C5F-4101-B189-B74B3EC9F32B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A7EB2C0B-2889-4A55-8CE6-E26478EE65D8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145B43A8-828A-4036-9AE9-DB07B95AD21E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20D324E-8679-4D1F-AC83-54D45000F7BD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0843"/>
              <a:chOff x="-1190625" y="-1"/>
              <a:chExt cx="11526223" cy="712417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F85116F-8B63-446B-8E8D-B09B5961BFFA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35853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1FAAD51-E604-4592-9768-FE54781F6864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35853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0603029-19F3-494E-BA92-A2676B9D459E}"/>
                  </a:ext>
                </a:extLst>
              </p:cNvPr>
              <p:cNvSpPr/>
              <p:nvPr/>
            </p:nvSpPr>
            <p:spPr>
              <a:xfrm>
                <a:off x="-1190625" y="405170"/>
                <a:ext cx="1120163" cy="307246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494F37F9-B3AF-4823-8894-A6A00DFE3ECF}"/>
                  </a:ext>
                </a:extLst>
              </p:cNvPr>
              <p:cNvSpPr/>
              <p:nvPr/>
            </p:nvSpPr>
            <p:spPr>
              <a:xfrm>
                <a:off x="9215998" y="405170"/>
                <a:ext cx="1119600" cy="307246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7B0A2AF-FC02-49AC-AFCA-8A3738F893CD}"/>
                </a:ext>
              </a:extLst>
            </p:cNvPr>
            <p:cNvGrpSpPr/>
            <p:nvPr/>
          </p:nvGrpSpPr>
          <p:grpSpPr>
            <a:xfrm>
              <a:off x="-1190625" y="1216969"/>
              <a:ext cx="11526223" cy="3517030"/>
              <a:chOff x="-1190625" y="-36411"/>
              <a:chExt cx="11526223" cy="753479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936A6A6-05E7-4FF1-BDBE-34D3EF86C8A9}"/>
                  </a:ext>
                </a:extLst>
              </p:cNvPr>
              <p:cNvSpPr/>
              <p:nvPr/>
            </p:nvSpPr>
            <p:spPr>
              <a:xfrm>
                <a:off x="-1190625" y="-36411"/>
                <a:ext cx="1120163" cy="75347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93BBD84-5C57-4248-8AC7-B10623C90F79}"/>
                  </a:ext>
                </a:extLst>
              </p:cNvPr>
              <p:cNvSpPr/>
              <p:nvPr/>
            </p:nvSpPr>
            <p:spPr>
              <a:xfrm>
                <a:off x="9215999" y="-36411"/>
                <a:ext cx="1119599" cy="75347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9FF2CC8-CC22-4494-9870-D49280C537D2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252057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58AB957-0915-49A1-B326-31C8C09F7526}"/>
                </a:ext>
              </a:extLst>
            </p:cNvPr>
            <p:cNvSpPr txBox="1"/>
            <p:nvPr/>
          </p:nvSpPr>
          <p:spPr>
            <a:xfrm>
              <a:off x="-1190625" y="1216967"/>
              <a:ext cx="938624" cy="3517031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7E9A4E0-F496-4E51-A0A4-A9A13FCE9897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252057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71A6085-1124-4919-8BE5-8CF313AA2989}"/>
                </a:ext>
              </a:extLst>
            </p:cNvPr>
            <p:cNvSpPr txBox="1"/>
            <p:nvPr/>
          </p:nvSpPr>
          <p:spPr>
            <a:xfrm>
              <a:off x="9396974" y="1216967"/>
              <a:ext cx="938624" cy="3517031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D47E6E-5758-44C2-B2DA-E3042B1078C6}"/>
                </a:ext>
              </a:extLst>
            </p:cNvPr>
            <p:cNvSpPr txBox="1"/>
            <p:nvPr/>
          </p:nvSpPr>
          <p:spPr>
            <a:xfrm>
              <a:off x="-1190625" y="961640"/>
              <a:ext cx="938624" cy="216000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1E724C0-2430-4A6C-BF5B-ED327A548BA1}"/>
                </a:ext>
              </a:extLst>
            </p:cNvPr>
            <p:cNvSpPr txBox="1"/>
            <p:nvPr/>
          </p:nvSpPr>
          <p:spPr>
            <a:xfrm>
              <a:off x="9396974" y="961640"/>
              <a:ext cx="938624" cy="216000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</p:grp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A60D8D6-30A8-40A8-B2F8-BBE9228140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964912"/>
            <a:ext cx="8640000" cy="21600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730A636B-954B-4D45-91AB-E850744BEF5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52000" y="1216968"/>
            <a:ext cx="8640000" cy="3308234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788B16B6-443B-413D-BF0B-86FE7A224A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2000" y="4539175"/>
            <a:ext cx="8640000" cy="108000"/>
          </a:xfrm>
        </p:spPr>
        <p:txBody>
          <a:bodyPr/>
          <a:lstStyle>
            <a:lvl1pPr marL="0" indent="0">
              <a:buNone/>
              <a:defRPr sz="700" i="1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DA4CBF2-2219-478C-9887-3B1A2BC53B36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3FBC46C-BB2B-42A7-8BA0-19D0CBE000F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8ACEACF-0448-47DF-ACA1-6FAED9CC289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6CEF82-F019-471D-86D6-128317378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1"/>
            <a:ext cx="8640000" cy="252057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690335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E2A6F737-85BF-4731-B09B-6330A2F9C928}"/>
              </a:ext>
            </a:extLst>
          </p:cNvPr>
          <p:cNvSpPr/>
          <p:nvPr/>
        </p:nvSpPr>
        <p:spPr bwMode="white">
          <a:xfrm>
            <a:off x="250826" y="2"/>
            <a:ext cx="8642350" cy="679438"/>
          </a:xfrm>
          <a:prstGeom prst="rect">
            <a:avLst/>
          </a:prstGeom>
          <a:solidFill>
            <a:srgbClr val="FFFFFF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F088CB3-C717-46DD-98B9-087E49A54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89600" y="255600"/>
            <a:ext cx="5076000" cy="1242120"/>
          </a:xfrm>
        </p:spPr>
        <p:txBody>
          <a:bodyPr tIns="36000" anchor="t" anchorCtr="0">
            <a:noAutofit/>
          </a:bodyPr>
          <a:lstStyle>
            <a:lvl1pPr>
              <a:lnSpc>
                <a:spcPts val="2600"/>
              </a:lnSpc>
              <a:defRPr sz="3200" kern="100" cap="all" spc="-15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</a:t>
            </a:r>
            <a:br>
              <a:rPr lang="en-GB"/>
            </a:br>
            <a:r>
              <a:rPr lang="en-GB"/>
              <a:t>to add </a:t>
            </a:r>
            <a:br>
              <a:rPr lang="en-GB"/>
            </a:br>
            <a:r>
              <a:rPr lang="en-GB"/>
              <a:t>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2328C9AF-0B20-4DDB-9D9D-AE98649B4E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9600" y="1659600"/>
            <a:ext cx="5076000" cy="216000"/>
          </a:xfrm>
        </p:spPr>
        <p:txBody>
          <a:bodyPr wrap="square">
            <a:noAutofit/>
          </a:bodyPr>
          <a:lstStyle>
            <a:lvl1pPr marL="0" indent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12A306E-98CD-4B1E-AAAC-7ED1D52E45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9200" y="1566000"/>
            <a:ext cx="1800000" cy="304800"/>
          </a:xfrm>
          <a:prstGeom prst="rect">
            <a:avLst/>
          </a:prstGeom>
        </p:spPr>
        <p:txBody>
          <a:bodyPr vert="horz" lIns="0" tIns="7200" rIns="0" bIns="0" anchor="t" anchorCtr="0">
            <a:no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[Firstname Lastname]</a:t>
            </a:r>
          </a:p>
          <a:p>
            <a:pPr lvl="0"/>
            <a:r>
              <a:rPr lang="en-GB" noProof="0"/>
              <a:t>[Job Title]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72C3312B-5C1C-46A7-AEF3-197C99EC5FD7}"/>
              </a:ext>
            </a:extLst>
          </p:cNvPr>
          <p:cNvSpPr txBox="1">
            <a:spLocks/>
          </p:cNvSpPr>
          <p:nvPr/>
        </p:nvSpPr>
        <p:spPr>
          <a:xfrm>
            <a:off x="259200" y="1447200"/>
            <a:ext cx="1800000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3000"/>
              </a:lnSpc>
              <a:spcBef>
                <a:spcPts val="0"/>
              </a:spcBef>
              <a:spcAft>
                <a:spcPts val="0"/>
              </a:spcAft>
              <a:buFont typeface="Wingdings 3" panose="05040102010807070707" pitchFamily="18" charset="2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2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4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6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3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b="1">
                <a:solidFill>
                  <a:schemeClr val="tx1"/>
                </a:solidFill>
              </a:rPr>
              <a:t>Presented by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4C790C-DBB6-4973-81ED-986D70E1E1B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88A9FA-7685-402F-83C7-DAB7851BAC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AACBE9-4919-41AD-B0E1-489F3F106C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Line 9">
            <a:extLst>
              <a:ext uri="{FF2B5EF4-FFF2-40B4-BE49-F238E27FC236}">
                <a16:creationId xmlns:a16="http://schemas.microsoft.com/office/drawing/2014/main" id="{9E008399-4886-4983-A385-6DE9E5E4E75C}"/>
              </a:ext>
            </a:extLst>
          </p:cNvPr>
          <p:cNvSpPr>
            <a:spLocks noChangeShapeType="1"/>
          </p:cNvSpPr>
          <p:nvPr/>
        </p:nvSpPr>
        <p:spPr bwMode="auto">
          <a:xfrm>
            <a:off x="3189289" y="1491608"/>
            <a:ext cx="324577" cy="0"/>
          </a:xfrm>
          <a:prstGeom prst="line">
            <a:avLst/>
          </a:prstGeom>
          <a:noFill/>
          <a:ln w="5715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rgbClr val="000000"/>
              </a:solidFill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3764670A-FE99-4288-9FD0-5F291CF20FA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4827" y="147975"/>
            <a:ext cx="755494" cy="360000"/>
          </a:xfrm>
          <a:prstGeom prst="rect">
            <a:avLst/>
          </a:prstGeom>
        </p:spPr>
      </p:pic>
      <p:sp>
        <p:nvSpPr>
          <p:cNvPr id="30" name="image">
            <a:extLst>
              <a:ext uri="{FF2B5EF4-FFF2-40B4-BE49-F238E27FC236}">
                <a16:creationId xmlns:a16="http://schemas.microsoft.com/office/drawing/2014/main" id="{521C3D7A-F7BC-4E63-8513-2B4609D0669C}"/>
              </a:ext>
            </a:extLst>
          </p:cNvPr>
          <p:cNvSpPr/>
          <p:nvPr userDrawn="1"/>
        </p:nvSpPr>
        <p:spPr>
          <a:xfrm>
            <a:off x="251999" y="1940400"/>
            <a:ext cx="8640000" cy="2790000"/>
          </a:xfrm>
          <a:prstGeom prst="rect">
            <a:avLst/>
          </a:prstGeom>
          <a:gradFill>
            <a:gsLst>
              <a:gs pos="10000">
                <a:srgbClr val="C859A8"/>
              </a:gs>
              <a:gs pos="90000">
                <a:srgbClr val="2ECDF7"/>
              </a:gs>
            </a:gsLst>
            <a:lin ang="18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FEA996A-D1A2-40CB-8259-32B7AB27F8E1}"/>
              </a:ext>
            </a:extLst>
          </p:cNvPr>
          <p:cNvGrpSpPr/>
          <p:nvPr/>
        </p:nvGrpSpPr>
        <p:grpSpPr>
          <a:xfrm>
            <a:off x="251999" y="1940400"/>
            <a:ext cx="8640000" cy="2790000"/>
            <a:chOff x="251999" y="1923193"/>
            <a:chExt cx="8640000" cy="2790000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41F34155-41E7-4C9A-B4BD-D4378D16E9CD}"/>
                </a:ext>
              </a:extLst>
            </p:cNvPr>
            <p:cNvGrpSpPr/>
            <p:nvPr/>
          </p:nvGrpSpPr>
          <p:grpSpPr>
            <a:xfrm>
              <a:off x="251999" y="1923193"/>
              <a:ext cx="8640000" cy="2790000"/>
              <a:chOff x="251999" y="1923193"/>
              <a:chExt cx="8640000" cy="2790000"/>
            </a:xfrm>
          </p:grpSpPr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8FA7052-3064-4997-A016-EA53F6464B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1999" y="2313147"/>
                <a:ext cx="8640000" cy="1196163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172E1127-1B95-49BB-82BF-B28CD46A1C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3323" y="1923193"/>
                <a:ext cx="1160599" cy="279000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28DF132-7722-496C-8A29-C3F2AA3379D5}"/>
                </a:ext>
              </a:extLst>
            </p:cNvPr>
            <p:cNvSpPr/>
            <p:nvPr/>
          </p:nvSpPr>
          <p:spPr bwMode="hidden">
            <a:xfrm>
              <a:off x="252000" y="1924342"/>
              <a:ext cx="450000" cy="450000"/>
            </a:xfrm>
            <a:prstGeom prst="rect">
              <a:avLst/>
            </a:prstGeom>
            <a:solidFill>
              <a:srgbClr val="B40082">
                <a:alpha val="0"/>
              </a:srgbClr>
            </a:solidFill>
            <a:ln w="6350">
              <a:solidFill>
                <a:schemeClr val="accent3">
                  <a:alpha val="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>
                <a:solidFill>
                  <a:schemeClr val="bg1"/>
                </a:solidFill>
              </a:endParaRPr>
            </a:p>
          </p:txBody>
        </p:sp>
      </p:grp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EFED172-27E2-4509-983B-097CA2B6EDC4}"/>
              </a:ext>
            </a:extLst>
          </p:cNvPr>
          <p:cNvCxnSpPr>
            <a:cxnSpLocks/>
          </p:cNvCxnSpPr>
          <p:nvPr/>
        </p:nvCxnSpPr>
        <p:spPr>
          <a:xfrm flipH="1">
            <a:off x="8265600" y="-180000"/>
            <a:ext cx="0" cy="108000"/>
          </a:xfrm>
          <a:prstGeom prst="line">
            <a:avLst/>
          </a:prstGeom>
          <a:ln>
            <a:solidFill>
              <a:srgbClr val="B40082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714232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C12391E-A3FC-4142-9A4E-2C51645DE0C8}"/>
              </a:ext>
            </a:extLst>
          </p:cNvPr>
          <p:cNvSpPr/>
          <p:nvPr/>
        </p:nvSpPr>
        <p:spPr bwMode="gray">
          <a:xfrm>
            <a:off x="250826" y="679439"/>
            <a:ext cx="8642350" cy="4051433"/>
          </a:xfrm>
          <a:prstGeom prst="rect">
            <a:avLst/>
          </a:prstGeom>
          <a:gradFill flip="none" rotWithShape="1">
            <a:gsLst>
              <a:gs pos="10000">
                <a:srgbClr val="2C7BC0"/>
              </a:gs>
              <a:gs pos="100000">
                <a:srgbClr val="2ECDF7"/>
              </a:gs>
            </a:gsLst>
            <a:lin ang="2700000" scaled="0"/>
            <a:tileRect/>
          </a:gra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CD2133-2382-41BC-A6ED-10FD977EE490}"/>
              </a:ext>
            </a:extLst>
          </p:cNvPr>
          <p:cNvGrpSpPr/>
          <p:nvPr/>
        </p:nvGrpSpPr>
        <p:grpSpPr>
          <a:xfrm>
            <a:off x="250826" y="679439"/>
            <a:ext cx="8642350" cy="4051433"/>
            <a:chOff x="250825" y="679438"/>
            <a:chExt cx="8642350" cy="4051433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2137802-9990-4CFC-9F0C-504E2344A6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12473" y="679438"/>
              <a:ext cx="1785987" cy="4051433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E09F2B0-F051-4557-AD0F-996B27B92C9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50825" y="1055003"/>
              <a:ext cx="8642350" cy="1305425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8A5E6A9-2227-459E-AF27-25B3D4D0DD5D}"/>
                </a:ext>
              </a:extLst>
            </p:cNvPr>
            <p:cNvSpPr/>
            <p:nvPr/>
          </p:nvSpPr>
          <p:spPr bwMode="hidden">
            <a:xfrm>
              <a:off x="250825" y="679438"/>
              <a:ext cx="450000" cy="4500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6350">
              <a:solidFill>
                <a:schemeClr val="accent5">
                  <a:alpha val="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/>
            </a:p>
          </p:txBody>
        </p:sp>
      </p:grpSp>
      <p:sp>
        <p:nvSpPr>
          <p:cNvPr id="21" name="Line 9">
            <a:extLst>
              <a:ext uri="{FF2B5EF4-FFF2-40B4-BE49-F238E27FC236}">
                <a16:creationId xmlns:a16="http://schemas.microsoft.com/office/drawing/2014/main" id="{88CAB82C-DC85-4CDA-98E7-BB158E7FC761}"/>
              </a:ext>
            </a:extLst>
          </p:cNvPr>
          <p:cNvSpPr>
            <a:spLocks noChangeShapeType="1"/>
          </p:cNvSpPr>
          <p:nvPr/>
        </p:nvSpPr>
        <p:spPr bwMode="gray">
          <a:xfrm>
            <a:off x="3184176" y="2345220"/>
            <a:ext cx="359956" cy="0"/>
          </a:xfrm>
          <a:prstGeom prst="line">
            <a:avLst/>
          </a:prstGeom>
          <a:noFill/>
          <a:ln w="57150" cmpd="sng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rgbClr val="0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89E6A3-57CA-4EE0-B100-48883AEB7A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86000" y="2520000"/>
            <a:ext cx="3672000" cy="990000"/>
          </a:xfrm>
        </p:spPr>
        <p:txBody>
          <a:bodyPr tIns="36000" anchor="t" anchorCtr="0">
            <a:noAutofit/>
          </a:bodyPr>
          <a:lstStyle>
            <a:lvl1pPr>
              <a:lnSpc>
                <a:spcPts val="2400"/>
              </a:lnSpc>
              <a:spcBef>
                <a:spcPts val="600"/>
              </a:spcBef>
              <a:spcAft>
                <a:spcPts val="200"/>
              </a:spcAft>
              <a:defRPr sz="2800" kern="100" cap="all" spc="-5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to edit section title max 3 lin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AE0CE0-9B43-4887-A7C0-69F6F2796AA2}"/>
              </a:ext>
            </a:extLst>
          </p:cNvPr>
          <p:cNvSpPr txBox="1"/>
          <p:nvPr/>
        </p:nvSpPr>
        <p:spPr>
          <a:xfrm>
            <a:off x="457200" y="4904767"/>
            <a:ext cx="1314450" cy="9646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 pitchFamily="18" charset="2"/>
              <a:buNone/>
              <a:tabLst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S Proprietary and Confidentia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D6BA58-8547-40A8-AB71-0589E769E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877E83-97B2-4727-8319-C5EC768E2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CC0C4F3-E661-48B0-B59B-73354FE73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91056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hem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38E39E6F-8A97-4BFB-9F11-C5FBEF4071B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194568" y="250826"/>
            <a:ext cx="5694916" cy="44791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16ED330-5F67-4F6F-B68D-B9B36A3969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7" y="2145601"/>
            <a:ext cx="2760662" cy="822721"/>
          </a:xfrm>
        </p:spPr>
        <p:txBody>
          <a:bodyPr tIns="36000" anchor="t" anchorCtr="0">
            <a:noAutofit/>
          </a:bodyPr>
          <a:lstStyle>
            <a:lvl1pPr>
              <a:lnSpc>
                <a:spcPts val="2000"/>
              </a:lnSpc>
              <a:spcBef>
                <a:spcPts val="600"/>
              </a:spcBef>
              <a:spcAft>
                <a:spcPts val="200"/>
              </a:spcAft>
              <a:defRPr sz="2400" kern="100" cap="all" spc="-10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to edit section title max 3 lines</a:t>
            </a:r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5120E990-3582-40BC-AA53-99ACDFA621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40000" y="4816801"/>
            <a:ext cx="1080000" cy="96470"/>
          </a:xfrm>
        </p:spPr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56DD5A8C-8A63-426A-B1EF-43F2699AF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3797" y="4820400"/>
            <a:ext cx="3600000" cy="93600"/>
          </a:xfrm>
        </p:spPr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66C9F111-1B01-46B7-975B-FAB751456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1588" y="4816800"/>
            <a:ext cx="180000" cy="97200"/>
          </a:xfrm>
        </p:spPr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Line 9">
            <a:extLst>
              <a:ext uri="{FF2B5EF4-FFF2-40B4-BE49-F238E27FC236}">
                <a16:creationId xmlns:a16="http://schemas.microsoft.com/office/drawing/2014/main" id="{0D7359C5-C909-4E43-BAD5-5B0CFEACBC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827" y="1974317"/>
            <a:ext cx="359956" cy="0"/>
          </a:xfrm>
          <a:prstGeom prst="line">
            <a:avLst/>
          </a:prstGeom>
          <a:noFill/>
          <a:ln w="5715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/>
          </a:p>
        </p:txBody>
      </p:sp>
    </p:spTree>
    <p:extLst>
      <p:ext uri="{BB962C8B-B14F-4D97-AF65-F5344CB8AC3E}">
        <p14:creationId xmlns:p14="http://schemas.microsoft.com/office/powerpoint/2010/main" val="4196998789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SESlogo_large" hidden="1">
            <a:extLst>
              <a:ext uri="{FF2B5EF4-FFF2-40B4-BE49-F238E27FC236}">
                <a16:creationId xmlns:a16="http://schemas.microsoft.com/office/drawing/2014/main" id="{2BD24938-7CC5-4724-8567-A744DE688AF7}"/>
              </a:ext>
            </a:extLst>
          </p:cNvPr>
          <p:cNvGrpSpPr/>
          <p:nvPr/>
        </p:nvGrpSpPr>
        <p:grpSpPr>
          <a:xfrm>
            <a:off x="234827" y="2"/>
            <a:ext cx="8658349" cy="679438"/>
            <a:chOff x="234826" y="1"/>
            <a:chExt cx="8658349" cy="67943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7D03965-86EC-45B8-8E9E-ED1CF4500E08}"/>
                </a:ext>
              </a:extLst>
            </p:cNvPr>
            <p:cNvSpPr/>
            <p:nvPr/>
          </p:nvSpPr>
          <p:spPr bwMode="white">
            <a:xfrm>
              <a:off x="250825" y="1"/>
              <a:ext cx="8642350" cy="679438"/>
            </a:xfrm>
            <a:prstGeom prst="rect">
              <a:avLst/>
            </a:prstGeom>
            <a:solidFill>
              <a:srgbClr val="FFFFFF"/>
            </a:solidFill>
            <a:ln w="25400">
              <a:noFill/>
            </a:ln>
          </p:spPr>
          <p:txBody>
  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>
                <a:ln w="18000">
                  <a:noFill/>
                  <a:prstDash val="solid"/>
                  <a:miter lim="800000"/>
                </a:ln>
                <a:effectLst/>
              </a:endParaRPr>
            </a:p>
          </p:txBody>
        </p:sp>
        <p:pic>
          <p:nvPicPr>
            <p:cNvPr id="13" name="!!SESlogo_large">
              <a:extLst>
                <a:ext uri="{FF2B5EF4-FFF2-40B4-BE49-F238E27FC236}">
                  <a16:creationId xmlns:a16="http://schemas.microsoft.com/office/drawing/2014/main" id="{5B8E537B-A884-4293-BA8E-5B798FF68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 bwMode="black">
            <a:xfrm>
              <a:off x="234826" y="147975"/>
              <a:ext cx="755494" cy="360000"/>
            </a:xfrm>
            <a:prstGeom prst="rect">
              <a:avLst/>
            </a:prstGeom>
          </p:spPr>
        </p:pic>
      </p:grp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53F9AF1-CE90-4222-BD2B-DC8E300930B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190875" y="250824"/>
            <a:ext cx="5700713" cy="4482000"/>
          </a:xfrm>
          <a:solidFill>
            <a:srgbClr val="000000">
              <a:alpha val="10000"/>
            </a:srgbClr>
          </a:solidFill>
        </p:spPr>
        <p:txBody>
          <a:bodyPr lIns="180000" tIns="180000" rIns="180000" bIns="180000" anchor="b" anchorCtr="0"/>
          <a:lstStyle>
            <a:lvl1pPr marL="0" indent="0" algn="r">
              <a:lnSpc>
                <a:spcPct val="100000"/>
              </a:lnSpc>
              <a:buNone/>
              <a:defRPr sz="1050"/>
            </a:lvl1pPr>
          </a:lstStyle>
          <a:p>
            <a:r>
              <a:rPr lang="en-GB"/>
              <a:t>Drag and drop a photo here or </a:t>
            </a:r>
            <a:br>
              <a:rPr lang="en-GB"/>
            </a:br>
            <a:r>
              <a:rPr lang="en-GB"/>
              <a:t>Click in this space and go to insert &gt; pictures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89E6A3-57CA-4EE0-B100-48883AEB7A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7" y="2145601"/>
            <a:ext cx="2760662" cy="822721"/>
          </a:xfrm>
        </p:spPr>
        <p:txBody>
          <a:bodyPr tIns="36000" anchor="t" anchorCtr="0">
            <a:noAutofit/>
          </a:bodyPr>
          <a:lstStyle>
            <a:lvl1pPr>
              <a:lnSpc>
                <a:spcPts val="2000"/>
              </a:lnSpc>
              <a:spcBef>
                <a:spcPts val="600"/>
              </a:spcBef>
              <a:spcAft>
                <a:spcPts val="200"/>
              </a:spcAft>
              <a:defRPr sz="2400" kern="100" cap="all" spc="-10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to edit section title max 3 lin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DC1A4-A2FC-4D14-A471-5A595A68B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11B0E32-D2B9-41B0-BC0D-11D1F33AF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DFAE2E-5AC4-4E3A-B397-F1082F628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Line 9">
            <a:extLst>
              <a:ext uri="{FF2B5EF4-FFF2-40B4-BE49-F238E27FC236}">
                <a16:creationId xmlns:a16="http://schemas.microsoft.com/office/drawing/2014/main" id="{B8DE8A8B-AE5A-43CC-AFC5-4046E81BEFE9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827" y="1974317"/>
            <a:ext cx="359956" cy="0"/>
          </a:xfrm>
          <a:prstGeom prst="line">
            <a:avLst/>
          </a:prstGeom>
          <a:noFill/>
          <a:ln w="5715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746C523-A69A-4CB7-BD27-69C3F5FB9F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86000" y="248400"/>
            <a:ext cx="5709600" cy="4485600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</p:spPr>
        <p:txBody>
          <a:bodyPr wrap="square" lIns="180000" tIns="180000" rIns="180000" bIns="180000">
            <a:noAutofit/>
          </a:bodyPr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P</a:t>
            </a:r>
            <a:r>
              <a:rPr lang="en-NL"/>
              <a:t>erspective lin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231211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E63CA-85EA-4FDC-89AE-D9E922578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F8D085-F647-4B93-ABFE-A60DF5BA4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5A68627-4DC8-4BBE-A1ED-416CE84C5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C0CB15F-A3D2-4FB6-9BA0-192E0CA06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0A91911-D727-EB03-4075-E556A089FBBB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5431966-18B1-861F-F666-9AF951D2C32F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D807E365-DF0E-9706-12F2-F7713A195841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323EFEC-4C72-40CD-7442-520838966AF2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B0E706F-DA5B-9A70-3BF8-831802C3D003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A867D87-B978-836F-A3DE-45A9F7F77EFF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BD6453AC-BEFB-47FB-FFB6-944ACADE3042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A044AD4-EC09-D74F-9D84-D092F183D1CE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78011D8-F4BB-DA2F-10C4-8F8F19D066EC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D19F6AA7-BA62-19BF-01F4-4344E36B6459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5BDBDDA-E03C-07F1-7DAC-C14741BF0BDB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BA7A5743-12C8-1791-698C-63EEC5B6D81C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9120F57-F178-2B73-C69D-63025FD2F71C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3025809-FD93-1A91-4A52-73B3C8A720A9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38E9DE8-5DFB-22A5-375B-B8697A093F12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C419A11-6481-715A-0E93-003827A0FA4F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A054ACF-A31A-5C04-263C-9EB76BDFD0BE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1186651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19175F4-791B-4C0F-89A0-A16A0E9D8AD6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41FBFC3-3B93-44E8-9428-FD280409E714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F6D82EEC-AACE-48F1-9D43-993A3FA135CB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10360190-485C-447E-98E5-8821BC40950E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2A0360B-59DF-443B-803A-2C95F5578EF5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F126F5A2-737D-4014-B6E9-1DCB1F72273D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8D827A73-0FCA-49DE-AD42-7F63A55A7240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714CD09-A692-400F-A976-771D9BCC7838}"/>
                </a:ext>
              </a:extLst>
            </p:cNvPr>
            <p:cNvGrpSpPr/>
            <p:nvPr/>
          </p:nvGrpSpPr>
          <p:grpSpPr>
            <a:xfrm>
              <a:off x="-1190625" y="673871"/>
              <a:ext cx="11526223" cy="4053598"/>
              <a:chOff x="-1190625" y="-152763"/>
              <a:chExt cx="11526223" cy="86843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095DA619-12A1-40AB-8824-0F89E3F800A3}"/>
                  </a:ext>
                </a:extLst>
              </p:cNvPr>
              <p:cNvSpPr/>
              <p:nvPr/>
            </p:nvSpPr>
            <p:spPr>
              <a:xfrm>
                <a:off x="-1190625" y="-152763"/>
                <a:ext cx="1120163" cy="868432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4770CA4A-137B-4522-A919-03D703118889}"/>
                  </a:ext>
                </a:extLst>
              </p:cNvPr>
              <p:cNvSpPr/>
              <p:nvPr/>
            </p:nvSpPr>
            <p:spPr>
              <a:xfrm>
                <a:off x="9215999" y="-152763"/>
                <a:ext cx="1119599" cy="868432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C6CC751-6B29-4576-B128-2CB2A0FB9F1C}"/>
                </a:ext>
              </a:extLst>
            </p:cNvPr>
            <p:cNvSpPr txBox="1"/>
            <p:nvPr/>
          </p:nvSpPr>
          <p:spPr>
            <a:xfrm>
              <a:off x="-1190625" y="680401"/>
              <a:ext cx="938624" cy="405359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CA0F040-6DE8-48EC-95C4-0839C4A622D4}"/>
                </a:ext>
              </a:extLst>
            </p:cNvPr>
            <p:cNvSpPr txBox="1"/>
            <p:nvPr/>
          </p:nvSpPr>
          <p:spPr>
            <a:xfrm>
              <a:off x="9396974" y="680401"/>
              <a:ext cx="938624" cy="405359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E60B64F-7608-4B19-ABFF-6123F9F41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6E8EE6DB-DB07-4FBB-B9DD-7C8A6B593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E93365F-7C55-41CB-B3BC-70A9C1F3D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920323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ing slide/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43B736F-3C1D-4926-9050-7FFD2D097CD1}"/>
              </a:ext>
            </a:extLst>
          </p:cNvPr>
          <p:cNvSpPr/>
          <p:nvPr/>
        </p:nvSpPr>
        <p:spPr bwMode="white">
          <a:xfrm>
            <a:off x="250826" y="2"/>
            <a:ext cx="8642350" cy="679438"/>
          </a:xfrm>
          <a:prstGeom prst="rect">
            <a:avLst/>
          </a:prstGeom>
          <a:solidFill>
            <a:srgbClr val="FFFFFF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noProof="0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0DC5C5F-5FAB-46F7-8234-342FC32CDA6D}"/>
              </a:ext>
            </a:extLst>
          </p:cNvPr>
          <p:cNvSpPr/>
          <p:nvPr/>
        </p:nvSpPr>
        <p:spPr bwMode="gray">
          <a:xfrm>
            <a:off x="250826" y="679439"/>
            <a:ext cx="8642350" cy="4051433"/>
          </a:xfrm>
          <a:prstGeom prst="rect">
            <a:avLst/>
          </a:prstGeom>
          <a:solidFill>
            <a:schemeClr val="tx1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noProof="0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6D46543-AB36-478E-9FC4-3E35ACB52EBC}"/>
              </a:ext>
            </a:extLst>
          </p:cNvPr>
          <p:cNvGrpSpPr/>
          <p:nvPr/>
        </p:nvGrpSpPr>
        <p:grpSpPr>
          <a:xfrm>
            <a:off x="250826" y="679439"/>
            <a:ext cx="8642350" cy="4051433"/>
            <a:chOff x="250825" y="679438"/>
            <a:chExt cx="8642350" cy="4051433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5DE304A-12E1-47DB-8CBF-0674E5C9B54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12473" y="679438"/>
              <a:ext cx="1785987" cy="4051433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F0D0D23-0E60-475D-A584-840E40203C6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50825" y="1055003"/>
              <a:ext cx="8642350" cy="1305425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8B91EF1-C32E-4D8E-9741-375716FB0B10}"/>
                </a:ext>
              </a:extLst>
            </p:cNvPr>
            <p:cNvSpPr/>
            <p:nvPr/>
          </p:nvSpPr>
          <p:spPr bwMode="hidden">
            <a:xfrm>
              <a:off x="250825" y="679438"/>
              <a:ext cx="450000" cy="4500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6350">
              <a:solidFill>
                <a:schemeClr val="accent5">
                  <a:alpha val="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noProof="0"/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906DE5BE-B988-476F-B787-318176EAC9B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4827" y="147975"/>
            <a:ext cx="755494" cy="360000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3189600" y="1933201"/>
            <a:ext cx="3240000" cy="393569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lnSpc>
                <a:spcPct val="103000"/>
              </a:lnSpc>
              <a:spcAft>
                <a:spcPts val="0"/>
              </a:spcAft>
              <a:buNone/>
              <a:defRPr sz="1200" b="1" baseline="0">
                <a:solidFill>
                  <a:schemeClr val="bg1"/>
                </a:solidFill>
              </a:defRPr>
            </a:lvl1pPr>
            <a:lvl2pPr marL="0" indent="0">
              <a:lnSpc>
                <a:spcPct val="103000"/>
              </a:lnSpc>
              <a:buNone/>
              <a:defRPr sz="1200">
                <a:solidFill>
                  <a:schemeClr val="bg1"/>
                </a:solidFill>
              </a:defRPr>
            </a:lvl2pPr>
            <a:lvl3pPr marL="449003" indent="0">
              <a:buNone/>
              <a:defRPr sz="1200"/>
            </a:lvl3pPr>
            <a:lvl4pPr marL="646993" indent="0">
              <a:buNone/>
              <a:defRPr sz="1200"/>
            </a:lvl4pPr>
            <a:lvl5pPr marL="828570" indent="0">
              <a:buNone/>
              <a:defRPr sz="1200"/>
            </a:lvl5pPr>
          </a:lstStyle>
          <a:p>
            <a:pPr lvl="0"/>
            <a:r>
              <a:rPr lang="en-GB" noProof="0"/>
              <a:t>Contact Name</a:t>
            </a:r>
          </a:p>
          <a:p>
            <a:pPr lvl="1"/>
            <a:r>
              <a:rPr lang="en-GB" noProof="0"/>
              <a:t>Contact Title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3189600" y="2530800"/>
            <a:ext cx="3240000" cy="71199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lnSpc>
                <a:spcPct val="103000"/>
              </a:lnSpc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269012" indent="0">
              <a:buNone/>
              <a:defRPr sz="1200"/>
            </a:lvl2pPr>
            <a:lvl3pPr marL="449003" indent="0">
              <a:buNone/>
              <a:defRPr sz="1200"/>
            </a:lvl3pPr>
            <a:lvl4pPr marL="646993" indent="0">
              <a:buNone/>
              <a:defRPr sz="1200"/>
            </a:lvl4pPr>
            <a:lvl5pPr marL="828570" indent="0">
              <a:buNone/>
              <a:defRPr sz="1200"/>
            </a:lvl5pPr>
          </a:lstStyle>
          <a:p>
            <a:pPr lvl="0"/>
            <a:r>
              <a:rPr lang="en-GB" noProof="0"/>
              <a:t>Contact email address</a:t>
            </a:r>
          </a:p>
          <a:p>
            <a:pPr lvl="0"/>
            <a:r>
              <a:rPr lang="en-GB" noProof="0"/>
              <a:t>T +000 000 000</a:t>
            </a:r>
          </a:p>
          <a:p>
            <a:pPr lvl="0"/>
            <a:r>
              <a:rPr lang="en-GB" noProof="0"/>
              <a:t>M +000 000 00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950B4A-F8D1-43C5-A593-A58026B61D3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/>
              <a:t>|  20 May 2022</a:t>
            </a:r>
            <a:endParaRPr lang="en-GB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6F2E5-8897-49EE-A000-962E3D52F68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GB" noProof="0"/>
              <a:t>Luxinnovation Defence Technology and Innovation Day
Esch/Alzette, 4 November 2024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5E3E81-617A-47A0-8EC2-5666C7EDEA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020A4007-B15C-4364-BF0A-8D607DB62D85}" type="slidenum">
              <a:rPr lang="en-GB" noProof="0" smtClean="0"/>
              <a:pPr/>
              <a:t>‹#›</a:t>
            </a:fld>
            <a:endParaRPr lang="en-GB" noProof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4B85D9C-EFC3-3E76-04B8-8BC9135AB4A2}"/>
              </a:ext>
            </a:extLst>
          </p:cNvPr>
          <p:cNvGrpSpPr/>
          <p:nvPr/>
        </p:nvGrpSpPr>
        <p:grpSpPr>
          <a:xfrm>
            <a:off x="3189289" y="3692917"/>
            <a:ext cx="1583000" cy="443353"/>
            <a:chOff x="3189289" y="3692917"/>
            <a:chExt cx="1583000" cy="443353"/>
          </a:xfrm>
        </p:grpSpPr>
        <p:sp>
          <p:nvSpPr>
            <p:cNvPr id="27" name="Line 9">
              <a:extLst>
                <a:ext uri="{FF2B5EF4-FFF2-40B4-BE49-F238E27FC236}">
                  <a16:creationId xmlns:a16="http://schemas.microsoft.com/office/drawing/2014/main" id="{CE69F94E-EE0E-4DBB-AD15-EE522D459C2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189289" y="3692917"/>
              <a:ext cx="324577" cy="0"/>
            </a:xfrm>
            <a:prstGeom prst="line">
              <a:avLst/>
            </a:prstGeom>
            <a:noFill/>
            <a:ln w="57150" cmpd="sng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1200" noProof="0">
                <a:solidFill>
                  <a:schemeClr val="bg1"/>
                </a:solidFill>
              </a:endParaRPr>
            </a:p>
          </p:txBody>
        </p:sp>
        <p:grpSp>
          <p:nvGrpSpPr>
            <p:cNvPr id="23" name="Group 7">
              <a:extLst>
                <a:ext uri="{FF2B5EF4-FFF2-40B4-BE49-F238E27FC236}">
                  <a16:creationId xmlns:a16="http://schemas.microsoft.com/office/drawing/2014/main" id="{9F5EE2B8-8EE8-93B2-BFFA-2D04A10EE3C3}"/>
                </a:ext>
              </a:extLst>
            </p:cNvPr>
            <p:cNvGrpSpPr/>
            <p:nvPr/>
          </p:nvGrpSpPr>
          <p:grpSpPr>
            <a:xfrm>
              <a:off x="3464830" y="3920270"/>
              <a:ext cx="1307459" cy="216000"/>
              <a:chOff x="756472" y="4490342"/>
              <a:chExt cx="1307459" cy="216000"/>
            </a:xfrm>
          </p:grpSpPr>
          <p:pic>
            <p:nvPicPr>
              <p:cNvPr id="34" name="Picture 13">
                <a:hlinkClick r:id="rId4"/>
                <a:extLst>
                  <a:ext uri="{FF2B5EF4-FFF2-40B4-BE49-F238E27FC236}">
                    <a16:creationId xmlns:a16="http://schemas.microsoft.com/office/drawing/2014/main" id="{B4880EE6-1E07-1698-3EEF-09E6847101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1303803" y="4493546"/>
                <a:ext cx="212796" cy="212796"/>
              </a:xfrm>
              <a:prstGeom prst="rect">
                <a:avLst/>
              </a:prstGeom>
            </p:spPr>
          </p:pic>
          <p:pic>
            <p:nvPicPr>
              <p:cNvPr id="36" name="Picture 15">
                <a:hlinkClick r:id="rId7"/>
                <a:extLst>
                  <a:ext uri="{FF2B5EF4-FFF2-40B4-BE49-F238E27FC236}">
                    <a16:creationId xmlns:a16="http://schemas.microsoft.com/office/drawing/2014/main" id="{A108951A-8994-F8D9-FCA0-328DA366C8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/>
              <a:stretch/>
            </p:blipFill>
            <p:spPr>
              <a:xfrm>
                <a:off x="756472" y="4493546"/>
                <a:ext cx="212796" cy="212796"/>
              </a:xfrm>
              <a:prstGeom prst="rect">
                <a:avLst/>
              </a:prstGeom>
            </p:spPr>
          </p:pic>
          <p:pic>
            <p:nvPicPr>
              <p:cNvPr id="37" name="Picture 16">
                <a:hlinkClick r:id="rId10"/>
                <a:extLst>
                  <a:ext uri="{FF2B5EF4-FFF2-40B4-BE49-F238E27FC236}">
                    <a16:creationId xmlns:a16="http://schemas.microsoft.com/office/drawing/2014/main" id="{8723DB0B-B552-177B-AC3A-4FDB125D97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1028573" y="4490342"/>
                <a:ext cx="215925" cy="215925"/>
              </a:xfrm>
              <a:prstGeom prst="rect">
                <a:avLst/>
              </a:prstGeom>
            </p:spPr>
          </p:pic>
          <p:pic>
            <p:nvPicPr>
              <p:cNvPr id="38" name="Picture 10">
                <a:hlinkClick r:id="rId13"/>
                <a:extLst>
                  <a:ext uri="{FF2B5EF4-FFF2-40B4-BE49-F238E27FC236}">
                    <a16:creationId xmlns:a16="http://schemas.microsoft.com/office/drawing/2014/main" id="{CE21B04C-5262-992C-3B38-E6BB2EA84E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rcRect/>
              <a:stretch/>
            </p:blipFill>
            <p:spPr>
              <a:xfrm>
                <a:off x="1848006" y="4490342"/>
                <a:ext cx="215925" cy="215925"/>
              </a:xfrm>
              <a:prstGeom prst="rect">
                <a:avLst/>
              </a:prstGeom>
            </p:spPr>
          </p:pic>
          <p:pic>
            <p:nvPicPr>
              <p:cNvPr id="39" name="Picture 17">
                <a:hlinkClick r:id="rId16"/>
                <a:extLst>
                  <a:ext uri="{FF2B5EF4-FFF2-40B4-BE49-F238E27FC236}">
                    <a16:creationId xmlns:a16="http://schemas.microsoft.com/office/drawing/2014/main" id="{52812EA7-30FA-8651-285A-0185E277AF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rcRect/>
              <a:stretch/>
            </p:blipFill>
            <p:spPr>
              <a:xfrm>
                <a:off x="1575904" y="4493546"/>
                <a:ext cx="212796" cy="212796"/>
              </a:xfrm>
              <a:prstGeom prst="rect">
                <a:avLst/>
              </a:prstGeom>
            </p:spPr>
          </p:pic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B3A905D-76ED-4D5F-B34E-461AE8C3E231}"/>
              </a:ext>
            </a:extLst>
          </p:cNvPr>
          <p:cNvPicPr/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2164" y="3918689"/>
            <a:ext cx="217542" cy="217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189721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3b mPOWER Title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E2A6F737-85BF-4731-B09B-6330A2F9C928}"/>
              </a:ext>
            </a:extLst>
          </p:cNvPr>
          <p:cNvSpPr/>
          <p:nvPr/>
        </p:nvSpPr>
        <p:spPr bwMode="white">
          <a:xfrm>
            <a:off x="250826" y="2"/>
            <a:ext cx="8642350" cy="679438"/>
          </a:xfrm>
          <a:prstGeom prst="rect">
            <a:avLst/>
          </a:prstGeom>
          <a:solidFill>
            <a:srgbClr val="000000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F088CB3-C717-46DD-98B9-087E49A54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89600" y="255600"/>
            <a:ext cx="5076000" cy="1242120"/>
          </a:xfrm>
        </p:spPr>
        <p:txBody>
          <a:bodyPr tIns="36000" anchor="t" anchorCtr="0">
            <a:noAutofit/>
          </a:bodyPr>
          <a:lstStyle>
            <a:lvl1pPr>
              <a:lnSpc>
                <a:spcPts val="2600"/>
              </a:lnSpc>
              <a:defRPr sz="3200" kern="100" cap="all" spc="-15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</a:t>
            </a:r>
            <a:br>
              <a:rPr lang="en-GB"/>
            </a:br>
            <a:r>
              <a:rPr lang="en-GB"/>
              <a:t>to add </a:t>
            </a:r>
            <a:br>
              <a:rPr lang="en-GB"/>
            </a:br>
            <a:r>
              <a:rPr lang="en-GB"/>
              <a:t>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2328C9AF-0B20-4DDB-9D9D-AE98649B4E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9600" y="1659600"/>
            <a:ext cx="5076000" cy="216000"/>
          </a:xfrm>
        </p:spPr>
        <p:txBody>
          <a:bodyPr wrap="square">
            <a:noAutofit/>
          </a:bodyPr>
          <a:lstStyle>
            <a:lvl1pPr marL="0" indent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12A306E-98CD-4B1E-AAAC-7ED1D52E45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9200" y="1566000"/>
            <a:ext cx="1800000" cy="304800"/>
          </a:xfrm>
          <a:prstGeom prst="rect">
            <a:avLst/>
          </a:prstGeom>
        </p:spPr>
        <p:txBody>
          <a:bodyPr vert="horz" lIns="0" tIns="7200" rIns="0" bIns="0" anchor="t" anchorCtr="0">
            <a:no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[Firstname Lastname]</a:t>
            </a:r>
          </a:p>
          <a:p>
            <a:pPr lvl="0"/>
            <a:r>
              <a:rPr lang="en-GB" noProof="0"/>
              <a:t>[Job Title]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72C3312B-5C1C-46A7-AEF3-197C99EC5FD7}"/>
              </a:ext>
            </a:extLst>
          </p:cNvPr>
          <p:cNvSpPr txBox="1">
            <a:spLocks/>
          </p:cNvSpPr>
          <p:nvPr/>
        </p:nvSpPr>
        <p:spPr>
          <a:xfrm>
            <a:off x="259200" y="1447200"/>
            <a:ext cx="1800000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3000"/>
              </a:lnSpc>
              <a:spcBef>
                <a:spcPts val="0"/>
              </a:spcBef>
              <a:spcAft>
                <a:spcPts val="0"/>
              </a:spcAft>
              <a:buFont typeface="Wingdings 3" panose="05040102010807070707" pitchFamily="18" charset="2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2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4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6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3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b="1">
                <a:solidFill>
                  <a:schemeClr val="bg1"/>
                </a:solidFill>
              </a:rPr>
              <a:t>Presented b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88A9FA-7685-402F-83C7-DAB7851BAC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AACBE9-4919-41AD-B0E1-489F3F106C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Line 9">
            <a:extLst>
              <a:ext uri="{FF2B5EF4-FFF2-40B4-BE49-F238E27FC236}">
                <a16:creationId xmlns:a16="http://schemas.microsoft.com/office/drawing/2014/main" id="{9E008399-4886-4983-A385-6DE9E5E4E75C}"/>
              </a:ext>
            </a:extLst>
          </p:cNvPr>
          <p:cNvSpPr>
            <a:spLocks noChangeShapeType="1"/>
          </p:cNvSpPr>
          <p:nvPr/>
        </p:nvSpPr>
        <p:spPr bwMode="auto">
          <a:xfrm>
            <a:off x="3189289" y="1491608"/>
            <a:ext cx="324577" cy="0"/>
          </a:xfrm>
          <a:prstGeom prst="line">
            <a:avLst/>
          </a:prstGeom>
          <a:noFill/>
          <a:ln w="57150" cmpd="sng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chemeClr val="bg1"/>
              </a:solidFill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3764670A-FE99-4288-9FD0-5F291CF20FA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4827" y="147975"/>
            <a:ext cx="755494" cy="36000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08FC352-1D0B-4CB8-B834-4873A92A0A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2001" y="1940400"/>
            <a:ext cx="8639588" cy="2790000"/>
          </a:xfrm>
          <a:solidFill>
            <a:srgbClr val="000000">
              <a:alpha val="0"/>
            </a:srgbClr>
          </a:solidFill>
        </p:spPr>
        <p:txBody>
          <a:bodyPr lIns="180000" tIns="180000" rIns="180000" bIns="180000" anchor="t" anchorCtr="0"/>
          <a:lstStyle>
            <a:lvl1pPr marL="0" indent="0" algn="r">
              <a:lnSpc>
                <a:spcPct val="100000"/>
              </a:lnSpc>
              <a:buNone/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GB"/>
              <a:t>Drag and drop a photo here or </a:t>
            </a:r>
            <a:br>
              <a:rPr lang="en-GB"/>
            </a:br>
            <a:r>
              <a:rPr lang="en-GB"/>
              <a:t>Click in this space and go to insert &gt; pictures</a:t>
            </a:r>
            <a:endParaRPr lang="en-US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CB7038-A8B0-4D3D-B23E-5C073DE4E1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588" y="1940400"/>
            <a:ext cx="8640000" cy="2790000"/>
          </a:xfrm>
          <a:prstGeom prst="rect">
            <a:avLst/>
          </a:pr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 vert="horz" lIns="180000" tIns="180000" rIns="180000" bIns="180000" anchor="t" anchorCtr="0">
            <a:no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800" b="0" baseline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[DD Month YYYY]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5964AC6-C1E7-4548-BB35-8CF8C84A8B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2001" y="1940400"/>
            <a:ext cx="8639588" cy="2790000"/>
          </a:xfrm>
          <a:prstGeom prst="rect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180000" tIns="180000" rIns="180000" bIns="180000">
            <a:noAutofit/>
          </a:bodyPr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P</a:t>
            </a:r>
            <a:r>
              <a:rPr lang="en-NL"/>
              <a:t>erspective lines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EAE40B-3411-4845-81A9-9777C6B1D45E}"/>
              </a:ext>
            </a:extLst>
          </p:cNvPr>
          <p:cNvSpPr txBox="1"/>
          <p:nvPr/>
        </p:nvSpPr>
        <p:spPr>
          <a:xfrm>
            <a:off x="250825" y="4816801"/>
            <a:ext cx="1260000" cy="96469"/>
          </a:xfrm>
          <a:prstGeom prst="rect">
            <a:avLst/>
          </a:prstGeom>
          <a:solidFill>
            <a:srgbClr val="000000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 pitchFamily="18" charset="2"/>
              <a:buNone/>
              <a:tabLst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S Proprietary and Confidential</a:t>
            </a:r>
          </a:p>
        </p:txBody>
      </p:sp>
      <p:grpSp>
        <p:nvGrpSpPr>
          <p:cNvPr id="19" name="ContentMarks">
            <a:extLst>
              <a:ext uri="{FF2B5EF4-FFF2-40B4-BE49-F238E27FC236}">
                <a16:creationId xmlns:a16="http://schemas.microsoft.com/office/drawing/2014/main" id="{30CDCC4B-EBB8-4F3B-BEAF-BD3BA4C38BAF}"/>
              </a:ext>
            </a:extLst>
          </p:cNvPr>
          <p:cNvGrpSpPr/>
          <p:nvPr/>
        </p:nvGrpSpPr>
        <p:grpSpPr>
          <a:xfrm>
            <a:off x="-179999" y="1944000"/>
            <a:ext cx="9505537" cy="2790000"/>
            <a:chOff x="-180000" y="1386921"/>
            <a:chExt cx="9505537" cy="3347079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89E3B37-9232-4CF3-85A1-E7ED3D4389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-180000" y="47340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0DB79D7-003A-45F9-B26A-797CB743AD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17537" y="47340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BFE52FA1-6FD8-49FB-9846-999FAF6EF4B9}"/>
                </a:ext>
              </a:extLst>
            </p:cNvPr>
            <p:cNvCxnSpPr>
              <a:cxnSpLocks/>
            </p:cNvCxnSpPr>
            <p:nvPr/>
          </p:nvCxnSpPr>
          <p:spPr>
            <a:xfrm>
              <a:off x="-180000" y="1386921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339FD908-50F1-4E36-A59C-4F1961B70E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17537" y="1386921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68D6FF2D-4D76-466D-A4C5-5FA480478A7C}"/>
              </a:ext>
            </a:extLst>
          </p:cNvPr>
          <p:cNvSpPr/>
          <p:nvPr/>
        </p:nvSpPr>
        <p:spPr>
          <a:xfrm>
            <a:off x="8513384" y="2533807"/>
            <a:ext cx="252412" cy="252412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E2175A0-AA8B-46C5-9CA8-6DB4D4130CC9}"/>
              </a:ext>
            </a:extLst>
          </p:cNvPr>
          <p:cNvSpPr/>
          <p:nvPr/>
        </p:nvSpPr>
        <p:spPr bwMode="white">
          <a:xfrm>
            <a:off x="1" y="5040755"/>
            <a:ext cx="9143999" cy="108000"/>
          </a:xfrm>
          <a:prstGeom prst="rect">
            <a:avLst/>
          </a:prstGeom>
          <a:solidFill>
            <a:srgbClr val="050505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4C790C-DBB6-4973-81ED-986D70E1E1B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solidFill>
            <a:srgbClr val="000000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  20 May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458849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4041C3B5-208C-6C0B-8067-926EEE0ABB31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38AB511-3330-808F-AEA5-64E80CCEC8D6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B9C4AC4F-7D05-29CB-0400-986B74D8B5AD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63BD727B-C84F-ED3A-A746-DEFF17993840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880394A-8266-24EA-CE25-6A78BC7FE85B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AAD56B9B-EA0B-1A4B-5864-A7A419157BCA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3477898-5658-E3D2-36FC-506F99410E92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63D1415-D1CF-38F3-800F-CDEC2DC851A1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73044753-538F-6CB8-5A71-B8962F30EC8D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7604B16-FE23-63EC-720B-13AC882A68EA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27B0014-1F5A-B63A-F8DB-0627D2F847D3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C96591DB-8C77-AC78-F5DF-3C88900CA8F9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3FA2EF9-1C3A-4C20-26B1-9E9610399D82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D4EA0D1-9D30-F758-8ABA-339C1EA191CA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2FA498C-42D9-4B7E-38D3-7DD72B6AFB99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D749D64-A046-0627-5775-428882F2A552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472DB3A-AB84-A09F-709D-555D0B2F7D10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197662A-5F81-4291-B8C9-7BFAC86D358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1393200"/>
            <a:ext cx="8640000" cy="3340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Bullet level 2</a:t>
            </a:r>
          </a:p>
          <a:p>
            <a:pPr lvl="2"/>
            <a:r>
              <a:rPr lang="en-GB"/>
              <a:t>Bullet level 3</a:t>
            </a:r>
          </a:p>
          <a:p>
            <a:pPr lvl="3"/>
            <a:r>
              <a:rPr lang="en-GB"/>
              <a:t>Bullet level 4</a:t>
            </a:r>
          </a:p>
          <a:p>
            <a:pPr lvl="4"/>
            <a:r>
              <a:rPr lang="en-GB"/>
              <a:t>Bullet level 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5DEA42-67F2-49B0-9C5F-779585F9EF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C97084-BD7B-4936-9268-B16722C55CF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EAF9C82-45E9-4465-979B-36BC83C80C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B60AC2-81D3-4B2D-9FD3-8F7859B4F25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3367233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7129A42-8201-42DC-A2AA-5DF55A8F35DF}"/>
              </a:ext>
            </a:extLst>
          </p:cNvPr>
          <p:cNvGrpSpPr/>
          <p:nvPr/>
        </p:nvGrpSpPr>
        <p:grpSpPr>
          <a:xfrm>
            <a:off x="-1190624" y="0"/>
            <a:ext cx="11526223" cy="5143500"/>
            <a:chOff x="-1190625" y="0"/>
            <a:chExt cx="11526223" cy="514350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210ED98-9466-4300-A1CF-F300529A6E9D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0400"/>
              <a:chOff x="-250463" y="-1"/>
              <a:chExt cx="964646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853EDD5E-C5C2-4C65-B29C-2EC8D5760A1B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0DF34251-596E-4321-866A-A6F6FA296B11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6AA7120-2813-4E24-938F-F480BEFA7A40}"/>
                </a:ext>
              </a:extLst>
            </p:cNvPr>
            <p:cNvGrpSpPr/>
            <p:nvPr/>
          </p:nvGrpSpPr>
          <p:grpSpPr>
            <a:xfrm>
              <a:off x="-250463" y="0"/>
              <a:ext cx="9646462" cy="504000"/>
              <a:chOff x="-250463" y="-1"/>
              <a:chExt cx="9646462" cy="531163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00E99254-9E34-493A-95F6-F65660222EC4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53116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216B7349-CD73-4A36-99FC-AAC3CAE1472B}"/>
                  </a:ext>
                </a:extLst>
              </p:cNvPr>
              <p:cNvSpPr/>
              <p:nvPr/>
            </p:nvSpPr>
            <p:spPr>
              <a:xfrm>
                <a:off x="9215998" y="-1"/>
                <a:ext cx="180001" cy="53116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5A50C7C-A600-46C4-8B00-EF8A4D9A5E90}"/>
                </a:ext>
              </a:extLst>
            </p:cNvPr>
            <p:cNvGrpSpPr/>
            <p:nvPr/>
          </p:nvGrpSpPr>
          <p:grpSpPr>
            <a:xfrm>
              <a:off x="-1190625" y="494637"/>
              <a:ext cx="11526223" cy="2065587"/>
              <a:chOff x="-1190625" y="-259112"/>
              <a:chExt cx="11526223" cy="2938167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CFF5271-FB64-46E7-8F31-A78427419E67}"/>
                  </a:ext>
                </a:extLst>
              </p:cNvPr>
              <p:cNvSpPr/>
              <p:nvPr/>
            </p:nvSpPr>
            <p:spPr>
              <a:xfrm>
                <a:off x="-1190625" y="-259112"/>
                <a:ext cx="1120163" cy="1766667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83BECA9-F7B0-40A3-B3DB-6129D2E1146C}"/>
                  </a:ext>
                </a:extLst>
              </p:cNvPr>
              <p:cNvSpPr/>
              <p:nvPr/>
            </p:nvSpPr>
            <p:spPr>
              <a:xfrm>
                <a:off x="9215998" y="-259112"/>
                <a:ext cx="1119600" cy="1766667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9493E24-9D1B-4E67-BFAE-7BFD497C3EE2}"/>
                  </a:ext>
                </a:extLst>
              </p:cNvPr>
              <p:cNvSpPr/>
              <p:nvPr/>
            </p:nvSpPr>
            <p:spPr>
              <a:xfrm>
                <a:off x="-1190625" y="2005850"/>
                <a:ext cx="1120163" cy="67320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3128D1CA-5198-496E-922C-F3EE93613D03}"/>
                  </a:ext>
                </a:extLst>
              </p:cNvPr>
              <p:cNvSpPr/>
              <p:nvPr/>
            </p:nvSpPr>
            <p:spPr>
              <a:xfrm>
                <a:off x="9215998" y="2005850"/>
                <a:ext cx="1119600" cy="67320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B309FFC-6BE1-481A-B426-A605934B0B86}"/>
                </a:ext>
              </a:extLst>
            </p:cNvPr>
            <p:cNvGrpSpPr/>
            <p:nvPr/>
          </p:nvGrpSpPr>
          <p:grpSpPr>
            <a:xfrm>
              <a:off x="-1190625" y="2663370"/>
              <a:ext cx="11526223" cy="2070629"/>
              <a:chOff x="-1190625" y="273462"/>
              <a:chExt cx="11526223" cy="443606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F6D5E3F-49F4-43B1-AA42-0B0EFA84F657}"/>
                  </a:ext>
                </a:extLst>
              </p:cNvPr>
              <p:cNvSpPr/>
              <p:nvPr/>
            </p:nvSpPr>
            <p:spPr>
              <a:xfrm>
                <a:off x="-1190625" y="273462"/>
                <a:ext cx="1120163" cy="443606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FBF1725-9BDE-4ADE-8663-42963467706B}"/>
                  </a:ext>
                </a:extLst>
              </p:cNvPr>
              <p:cNvSpPr/>
              <p:nvPr/>
            </p:nvSpPr>
            <p:spPr>
              <a:xfrm>
                <a:off x="9215999" y="273462"/>
                <a:ext cx="1119599" cy="443606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819A8FF-1E75-4D2C-8834-EE955F47319F}"/>
                </a:ext>
              </a:extLst>
            </p:cNvPr>
            <p:cNvSpPr txBox="1"/>
            <p:nvPr/>
          </p:nvSpPr>
          <p:spPr>
            <a:xfrm>
              <a:off x="-1190625" y="494637"/>
              <a:ext cx="938624" cy="1242000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946E3D1-4405-477D-AAAD-C808D99AAE50}"/>
                </a:ext>
              </a:extLst>
            </p:cNvPr>
            <p:cNvSpPr txBox="1"/>
            <p:nvPr/>
          </p:nvSpPr>
          <p:spPr>
            <a:xfrm>
              <a:off x="-1190625" y="2663370"/>
              <a:ext cx="938624" cy="207062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3FCFD2F-A4CE-4BEA-A265-238993059B45}"/>
                </a:ext>
              </a:extLst>
            </p:cNvPr>
            <p:cNvSpPr txBox="1"/>
            <p:nvPr/>
          </p:nvSpPr>
          <p:spPr>
            <a:xfrm>
              <a:off x="9396974" y="494637"/>
              <a:ext cx="938624" cy="1242000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0FA53E2-A31D-41D7-89E2-A42F6F33ACEC}"/>
                </a:ext>
              </a:extLst>
            </p:cNvPr>
            <p:cNvSpPr txBox="1"/>
            <p:nvPr/>
          </p:nvSpPr>
          <p:spPr>
            <a:xfrm>
              <a:off x="9396974" y="2663370"/>
              <a:ext cx="938624" cy="207062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0B57251-56C0-455C-AB24-C493C9C5EA76}"/>
                </a:ext>
              </a:extLst>
            </p:cNvPr>
            <p:cNvSpPr txBox="1"/>
            <p:nvPr/>
          </p:nvSpPr>
          <p:spPr>
            <a:xfrm>
              <a:off x="-1190625" y="2086948"/>
              <a:ext cx="938624" cy="473276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2FC4728-093A-49C6-B43F-C3F7B7BCFBEE}"/>
                </a:ext>
              </a:extLst>
            </p:cNvPr>
            <p:cNvSpPr txBox="1"/>
            <p:nvPr/>
          </p:nvSpPr>
          <p:spPr>
            <a:xfrm>
              <a:off x="9396974" y="2086948"/>
              <a:ext cx="938624" cy="473276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BBCEE-637D-46E6-AA31-D40D892DE6A9}"/>
              </a:ext>
            </a:extLst>
          </p:cNvPr>
          <p:cNvSpPr/>
          <p:nvPr/>
        </p:nvSpPr>
        <p:spPr bwMode="white">
          <a:xfrm>
            <a:off x="250826" y="2"/>
            <a:ext cx="8642350" cy="679438"/>
          </a:xfrm>
          <a:prstGeom prst="rect">
            <a:avLst/>
          </a:prstGeom>
          <a:solidFill>
            <a:srgbClr val="000000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C97084-BD7B-4936-9268-B16722C55CF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  20 May 2022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EAF9C82-45E9-4465-979B-36BC83C80C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B60AC2-81D3-4B2D-9FD3-8F7859B4F25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ine 9">
            <a:extLst>
              <a:ext uri="{FF2B5EF4-FFF2-40B4-BE49-F238E27FC236}">
                <a16:creationId xmlns:a16="http://schemas.microsoft.com/office/drawing/2014/main" id="{2762A5FC-B3BB-49E3-9F18-451E39BC383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0348" y="1970236"/>
            <a:ext cx="324577" cy="0"/>
          </a:xfrm>
          <a:prstGeom prst="line">
            <a:avLst/>
          </a:prstGeom>
          <a:noFill/>
          <a:ln w="5715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rgbClr val="000000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4EEFFF4-FF33-4D03-B873-01E47E172EB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4827" y="147975"/>
            <a:ext cx="755494" cy="360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8D56C86-D2FB-43B7-8AE4-CA217CC5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80324" y="494637"/>
            <a:ext cx="4320000" cy="1242000"/>
          </a:xfrm>
        </p:spPr>
        <p:txBody>
          <a:bodyPr tIns="36000"/>
          <a:lstStyle>
            <a:lvl1pPr>
              <a:lnSpc>
                <a:spcPts val="3000"/>
              </a:lnSpc>
              <a:defRPr sz="360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C030FC4-BC45-4584-8AD4-3003DF8111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0346" y="2086948"/>
            <a:ext cx="2761191" cy="473276"/>
          </a:xfrm>
        </p:spPr>
        <p:txBody>
          <a:bodyPr tIns="10800">
            <a:no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Edit subtit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D69A3B9-D6C5-4992-9C82-F1893415BD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89288" y="2663372"/>
            <a:ext cx="5702300" cy="1872629"/>
          </a:xfrm>
        </p:spPr>
        <p:txBody>
          <a:bodyPr rIns="468000"/>
          <a:lstStyle>
            <a:lvl1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0">
                <a:solidFill>
                  <a:schemeClr val="bg1"/>
                </a:solidFill>
              </a:defRPr>
            </a:lvl1pPr>
            <a:lvl2pPr marL="179996" indent="-1799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</a:defRPr>
            </a:lvl2pPr>
            <a:lvl3pPr marL="3599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539987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719982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103A1D2-8FC3-4830-A2B6-575B1476B32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050" t="24604" r="3914" b="27817"/>
          <a:stretch/>
        </p:blipFill>
        <p:spPr>
          <a:xfrm>
            <a:off x="254310" y="2679854"/>
            <a:ext cx="1550878" cy="216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7C4E760-A8D8-4B89-B758-8F4509712122}"/>
              </a:ext>
            </a:extLst>
          </p:cNvPr>
          <p:cNvSpPr txBox="1"/>
          <p:nvPr/>
        </p:nvSpPr>
        <p:spPr>
          <a:xfrm>
            <a:off x="250825" y="4816801"/>
            <a:ext cx="1260000" cy="9646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 pitchFamily="18" charset="2"/>
              <a:buNone/>
              <a:tabLst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S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67247490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197662A-5F81-4291-B8C9-7BFAC86D358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1393200"/>
            <a:ext cx="8640000" cy="3340800"/>
          </a:xfrm>
        </p:spPr>
        <p:txBody>
          <a:bodyPr/>
          <a:lstStyle>
            <a:lvl1pPr marL="215995" indent="-215995">
              <a:buFont typeface="+mj-lt"/>
              <a:buAutoNum type="arabicPeriod"/>
              <a:defRPr b="1">
                <a:solidFill>
                  <a:schemeClr val="accent1"/>
                </a:solidFill>
              </a:defRPr>
            </a:lvl1pPr>
            <a:lvl2pPr marL="395990" indent="-179996">
              <a:buFont typeface="+mj-lt"/>
              <a:buAutoNum type="alphaUcPeriod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Bullet level 2</a:t>
            </a:r>
          </a:p>
          <a:p>
            <a:pPr lvl="2"/>
            <a:r>
              <a:rPr lang="en-GB"/>
              <a:t>Bullet level 3</a:t>
            </a:r>
          </a:p>
          <a:p>
            <a:pPr lvl="3"/>
            <a:r>
              <a:rPr lang="en-GB"/>
              <a:t>Bullet level 4</a:t>
            </a:r>
          </a:p>
          <a:p>
            <a:pPr lvl="4"/>
            <a:r>
              <a:rPr lang="en-GB"/>
              <a:t>Bullet level 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5DEA42-67F2-49B0-9C5F-779585F9EF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DE4509-CB25-4711-987E-02485912684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BCA600A-0D6D-4482-9DA9-D9687AA29E2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4AFC8-9818-446C-BD01-8C613E23F30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AF48FA8-1323-FD33-D847-C6B1859B25C7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21E1018-0161-6983-5F61-3C75C2B2C83B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77A1B1A7-5B15-D257-D841-72DF08E0969B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DCD2E6F-90C7-7469-E71A-1D0D95DEED25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A913FB6-E7D2-ED4B-5CC7-1C47A7C52E5F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1EC40BAE-10A5-66F7-8C21-36613E018A23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C749848-E1CC-0D75-0789-EDA47D0C40B0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A764D2B-78B1-1B06-F790-C8C05859A775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A19EE331-D1A5-7885-0D4B-3EEB16B175C4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E6CCDC1-A80A-4471-5AB8-BE5E999881F2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A2CF19E-33CB-D113-C292-90DB67924348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F8354E38-70EE-C143-76F7-81AE9A0C8F68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14F1CADB-AE6B-3708-391B-557DFCF1C43A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A0C6D30-4A4F-C167-D8B5-8AAB4404750D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4F1DB18-0D7A-4E3B-83C7-3FCC15F2B8E8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1CD8E93-C9F7-3F0A-5856-E21361FC8837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D251CBF-C213-16DD-8748-E97C86F0DFA9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71442953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01CE45A-D6FA-44E3-B2DE-5D1B1F93525F}"/>
              </a:ext>
            </a:extLst>
          </p:cNvPr>
          <p:cNvSpPr/>
          <p:nvPr/>
        </p:nvSpPr>
        <p:spPr bwMode="white">
          <a:xfrm>
            <a:off x="250826" y="2"/>
            <a:ext cx="8642350" cy="679438"/>
          </a:xfrm>
          <a:prstGeom prst="rect">
            <a:avLst/>
          </a:prstGeom>
          <a:solidFill>
            <a:srgbClr val="FFFFFF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75BE955E-314F-49C6-94C7-EFDBADD301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89601" y="255600"/>
            <a:ext cx="2941325" cy="1242120"/>
          </a:xfrm>
        </p:spPr>
        <p:txBody>
          <a:bodyPr tIns="36000" anchor="t" anchorCtr="0">
            <a:noAutofit/>
          </a:bodyPr>
          <a:lstStyle>
            <a:lvl1pPr>
              <a:lnSpc>
                <a:spcPts val="2600"/>
              </a:lnSpc>
              <a:defRPr sz="3200" kern="100" cap="all" spc="-15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</a:t>
            </a:r>
            <a:br>
              <a:rPr lang="en-GB"/>
            </a:br>
            <a:r>
              <a:rPr lang="en-GB"/>
              <a:t>to add </a:t>
            </a:r>
            <a:br>
              <a:rPr lang="en-GB"/>
            </a:br>
            <a:r>
              <a:rPr lang="en-GB"/>
              <a:t>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885946EC-9A9E-4534-B17A-B34EFE7781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9600" y="1659600"/>
            <a:ext cx="5076000" cy="216000"/>
          </a:xfrm>
        </p:spPr>
        <p:txBody>
          <a:bodyPr wrap="square">
            <a:noAutofit/>
          </a:bodyPr>
          <a:lstStyle>
            <a:lvl1pPr marL="0" indent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3FB41E3-7B95-4D4B-92A1-CF2D985EEE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9200" y="1566000"/>
            <a:ext cx="1800000" cy="304800"/>
          </a:xfrm>
          <a:prstGeom prst="rect">
            <a:avLst/>
          </a:prstGeom>
        </p:spPr>
        <p:txBody>
          <a:bodyPr vert="horz" lIns="0" tIns="7200" rIns="0" bIns="0" anchor="t" anchorCtr="0">
            <a:no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[Firstname Lastname]</a:t>
            </a:r>
          </a:p>
          <a:p>
            <a:pPr lvl="0"/>
            <a:r>
              <a:rPr lang="en-GB" noProof="0"/>
              <a:t>[Job Title]</a:t>
            </a:r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35AE510A-1FD6-4875-AC0A-F4F2023DDFD3}"/>
              </a:ext>
            </a:extLst>
          </p:cNvPr>
          <p:cNvSpPr txBox="1">
            <a:spLocks/>
          </p:cNvSpPr>
          <p:nvPr/>
        </p:nvSpPr>
        <p:spPr>
          <a:xfrm>
            <a:off x="259200" y="1447200"/>
            <a:ext cx="1800000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3000"/>
              </a:lnSpc>
              <a:spcBef>
                <a:spcPts val="0"/>
              </a:spcBef>
              <a:spcAft>
                <a:spcPts val="0"/>
              </a:spcAft>
              <a:buFont typeface="Wingdings 3" panose="05040102010807070707" pitchFamily="18" charset="2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2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4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6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3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b="1">
                <a:solidFill>
                  <a:schemeClr val="tx1"/>
                </a:solidFill>
              </a:rPr>
              <a:t>Presented by</a:t>
            </a:r>
          </a:p>
        </p:txBody>
      </p:sp>
      <p:sp>
        <p:nvSpPr>
          <p:cNvPr id="20" name="Date Placeholder 1">
            <a:extLst>
              <a:ext uri="{FF2B5EF4-FFF2-40B4-BE49-F238E27FC236}">
                <a16:creationId xmlns:a16="http://schemas.microsoft.com/office/drawing/2014/main" id="{806E4B81-581E-4806-85AB-CC2A4EA5EF2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440000" y="4816801"/>
            <a:ext cx="1080000" cy="96470"/>
          </a:xfrm>
        </p:spPr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2AF0E026-F945-46A5-BD2A-A4B8C31D1F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083797" y="4820400"/>
            <a:ext cx="3600000" cy="93600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4284A64C-6415-434C-9A2C-0790CC8A2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711588" y="4816800"/>
            <a:ext cx="180000" cy="97200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Line 9">
            <a:extLst>
              <a:ext uri="{FF2B5EF4-FFF2-40B4-BE49-F238E27FC236}">
                <a16:creationId xmlns:a16="http://schemas.microsoft.com/office/drawing/2014/main" id="{F34B21E8-0043-4E47-8C63-4F3CE9D0EA71}"/>
              </a:ext>
            </a:extLst>
          </p:cNvPr>
          <p:cNvSpPr>
            <a:spLocks noChangeShapeType="1"/>
          </p:cNvSpPr>
          <p:nvPr/>
        </p:nvSpPr>
        <p:spPr bwMode="auto">
          <a:xfrm>
            <a:off x="3189289" y="1491608"/>
            <a:ext cx="324577" cy="0"/>
          </a:xfrm>
          <a:prstGeom prst="line">
            <a:avLst/>
          </a:prstGeom>
          <a:noFill/>
          <a:ln w="5715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rgbClr val="000000"/>
              </a:solidFill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448D3E86-E70D-4944-9295-20242A03215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4827" y="147975"/>
            <a:ext cx="755494" cy="360000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B7ED2EB-C32D-4873-864B-E91F084FEF3C}"/>
              </a:ext>
            </a:extLst>
          </p:cNvPr>
          <p:cNvCxnSpPr>
            <a:cxnSpLocks/>
          </p:cNvCxnSpPr>
          <p:nvPr/>
        </p:nvCxnSpPr>
        <p:spPr>
          <a:xfrm flipH="1">
            <a:off x="8265600" y="-180000"/>
            <a:ext cx="0" cy="108000"/>
          </a:xfrm>
          <a:prstGeom prst="line">
            <a:avLst/>
          </a:prstGeom>
          <a:ln>
            <a:solidFill>
              <a:srgbClr val="B40082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E77C470-35F6-4649-9EAA-E65C564537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52001" y="1940400"/>
            <a:ext cx="8639587" cy="2790000"/>
          </a:xfrm>
          <a:solidFill>
            <a:srgbClr val="000000">
              <a:alpha val="1000"/>
            </a:srgbClr>
          </a:solidFill>
        </p:spPr>
        <p:txBody>
          <a:bodyPr lIns="180000" tIns="180000" rIns="180000" bIns="180000" anchor="t" anchorCtr="0"/>
          <a:lstStyle>
            <a:lvl1pPr marL="0" indent="0" algn="r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GB"/>
              <a:t>Drag and drop a photo here or </a:t>
            </a:r>
            <a:br>
              <a:rPr lang="en-GB"/>
            </a:br>
            <a:r>
              <a:rPr lang="en-GB"/>
              <a:t>Click in this space and go to insert &gt; pictures</a:t>
            </a:r>
            <a:endParaRPr lang="en-US"/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A0633727-1482-4B51-846E-051C26E808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1940400"/>
            <a:ext cx="8639587" cy="2790000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180000" tIns="180000" rIns="180000" bIns="180000">
            <a:noAutofit/>
          </a:bodyPr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P</a:t>
            </a:r>
            <a:r>
              <a:rPr lang="en-NL"/>
              <a:t>erspective lin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90977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297EA9B2-49CA-965A-BDF2-6208FEBA7FAD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4576D40-E78E-BCA9-0BDF-99A67D4B09F9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EA28B36-FAD7-7E7E-CE91-15DAA5EEA9B7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6743FD5D-EC4E-CB18-0A3E-0061DEE3CAB3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495260-EAF5-FD00-26B9-55426A708B18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280BF6D-224F-C194-6056-9B6A42BFC732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62E0A995-C277-1E23-4E52-990EA0937990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C6ADD99-5597-E387-22BF-C682A110E398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6A9A8F08-59AB-5D88-2ED3-8B640224F512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CF132F77-7B9C-9DD9-FA0C-914CBF204929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DDE3F3E-3631-8D64-C6C9-E4978D479F9A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1698C079-94F2-5ED0-A671-6196B421C69C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56884FD5-34DB-5AD8-6AE0-DF13B541E47E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71B1B33-6182-8C81-9D7D-C260B2E1910B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C654366-9A9C-2D90-0848-F8D712833E93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8E07B37-B7C6-0AAE-3770-CF3EF10E71CE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5A7AFDB-F381-71CC-5D26-35C2BB3F8D33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BC7FAB-C9F2-449E-AFDD-87C4E3965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000" y="1393200"/>
            <a:ext cx="4176000" cy="334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30CC5F-A86B-41E5-BF68-33C4C7136D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16000" y="1393200"/>
            <a:ext cx="4176000" cy="334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5515078-123C-4476-86C4-BB396CDB08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5BF09C-CF7E-47E1-8E2B-579A91242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67AD27-1E65-4111-929F-2D284ED57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8470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ED3CAC40-9FEF-4FE9-D5A3-7578ED9EA645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120659F-C3B2-D30B-8D8E-4E5AB78A14DD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3CD060C4-BEB6-8432-A9A9-7D64CF3EE682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CE67C9F8-B4E1-D3C9-C16C-300BD1F7E09E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1FD5B8F-1B43-4356-AD89-AA475D493E10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0CCE05D-1F2B-531F-5676-F1F3B8B0519D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B2089E26-502D-1DDC-E95E-66F9C203AFFC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832DDEC-6469-B741-47FB-61D4416E5560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54C9B5E-B1D3-78CB-503F-CB7101EC321F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D3B2D365-C704-491A-688D-D7A1107DF9D7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0C1D47CC-1895-DD33-2E5E-C8DF0F2F0745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97C3DD9A-D951-EE51-D872-B2D3C0C6BDE0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BD4267E-A688-D089-05B3-656EC33E5626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BAD396A-DBE5-DFE8-7E0F-66E8B297161E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DFA84CF-518C-21CE-311F-A9F3BF31858C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2F8AA13-C5F0-7F85-A17E-CCD06A25ECDC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E4EA089-5CEC-4A26-3D36-0AE2D71C05E5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000" y="1393200"/>
            <a:ext cx="2759488" cy="334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30CC5F-A86B-41E5-BF68-33C4C7136D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92257" y="1393200"/>
            <a:ext cx="2759488" cy="334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D013FD1F-5457-4D5E-B930-E8CDE65EA99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32513" y="1393200"/>
            <a:ext cx="2759488" cy="334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84937EC-6303-4C6E-8FBA-D267EFA350F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5F2E940-0E99-40DB-A567-F442180D52F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FF57B31-6202-4F15-A6E7-AC9A5B0F4C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417016-8BB4-4FC0-A6CA-EC22B351A0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8618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964F3A09-C323-874D-9BB9-233E4024A2F1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521DA6D-A066-A797-D981-6CEE28C87B5D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23DEDA21-29E2-18DA-A0E6-D05A2690FA54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073E62D9-447A-4F29-66D1-529F1A6DF5B1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89B24A9-7C09-D257-8B75-9B92839A8243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21B421BE-F121-FC36-7FD4-935A0A48CB80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B7CFE66-6767-5D10-835D-6FB04A805CD7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77BCB9AE-F32E-3F6C-C01F-3FB644C7AA13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CAF7D58A-D238-8E74-8C01-9148EEF45340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DBF6D7E-DEB1-EE33-6BA8-CBE5A20682CD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05B561B-7D18-650C-3851-038742FA9FD8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26FDADAE-B8F4-0BA7-E82B-6495463B1717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18C7F88-503E-3162-6685-941B39126067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F0D6211-BC1E-6EB1-C561-D61631FC1E95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423F3F7-8CFD-6E35-BEC8-BD06D1CF4DA3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4335E28-27A9-BAB4-17D1-FBB99922ECDE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174285A-E686-E975-CE9A-74BDD8659F32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1393200"/>
            <a:ext cx="8640000" cy="3340800"/>
          </a:xfrm>
          <a:solidFill>
            <a:srgbClr val="505A64"/>
          </a:solidFill>
        </p:spPr>
        <p:txBody>
          <a:bodyPr lIns="180000" tIns="180000" rIns="180000" bIns="18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rag and drop a photo here or </a:t>
            </a:r>
            <a:br>
              <a:rPr lang="en-GB" noProof="0"/>
            </a:br>
            <a:r>
              <a:rPr lang="en-GB" noProof="0"/>
              <a:t>Click in this space and go to insert &gt; pictur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3A1A4-DDCD-44BA-8D4C-BC03A66ECF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A8B72A-3190-4D6A-9231-04746F48E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9955AE-3630-4CAF-97E5-6195210432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22024E-B457-48F8-8DC2-98D07004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01EE3C3-13C4-4EF6-AC2B-133BA0FED4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002" y="1393200"/>
            <a:ext cx="5878924" cy="3340800"/>
          </a:xfrm>
          <a:gradFill>
            <a:gsLst>
              <a:gs pos="69000">
                <a:schemeClr val="bg1">
                  <a:alpha val="0"/>
                </a:schemeClr>
              </a:gs>
              <a:gs pos="43000">
                <a:schemeClr val="tx2">
                  <a:alpha val="50000"/>
                </a:schemeClr>
              </a:gs>
            </a:gsLst>
            <a:lin ang="1800000" scaled="0"/>
          </a:gradFill>
        </p:spPr>
        <p:txBody>
          <a:bodyPr lIns="252000" tIns="252000" rIns="252000" bIns="252000" numCol="2" spcCol="180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230047E-A3EC-434E-BD11-C032D1E99187}"/>
              </a:ext>
            </a:extLst>
          </p:cNvPr>
          <p:cNvSpPr/>
          <p:nvPr/>
        </p:nvSpPr>
        <p:spPr>
          <a:xfrm>
            <a:off x="8513384" y="2033643"/>
            <a:ext cx="252412" cy="252412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</p:spTree>
    <p:extLst>
      <p:ext uri="{BB962C8B-B14F-4D97-AF65-F5344CB8AC3E}">
        <p14:creationId xmlns:p14="http://schemas.microsoft.com/office/powerpoint/2010/main" val="362769145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 imag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36AA27D-AFB6-4383-9DE1-F8D6A9720D5B}"/>
              </a:ext>
            </a:extLst>
          </p:cNvPr>
          <p:cNvGrpSpPr/>
          <p:nvPr/>
        </p:nvGrpSpPr>
        <p:grpSpPr>
          <a:xfrm>
            <a:off x="-1190624" y="0"/>
            <a:ext cx="11526223" cy="5143500"/>
            <a:chOff x="-1190625" y="0"/>
            <a:chExt cx="11526223" cy="51435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919AB86-A0FA-4CCB-BC9C-A2C3CB575358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0400"/>
              <a:chOff x="-250463" y="-1"/>
              <a:chExt cx="9646463" cy="717069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9FB83C97-50DD-4F3C-AB85-112800C7D06B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7A388CD-EA43-4B78-8BF6-5CEDE335B758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E410670-A795-471E-9877-48BC9DF10558}"/>
                </a:ext>
              </a:extLst>
            </p:cNvPr>
            <p:cNvGrpSpPr/>
            <p:nvPr/>
          </p:nvGrpSpPr>
          <p:grpSpPr>
            <a:xfrm>
              <a:off x="-250463" y="0"/>
              <a:ext cx="9646463" cy="680400"/>
              <a:chOff x="-250463" y="-1"/>
              <a:chExt cx="9646463" cy="717069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1ADD77D-2D1E-456C-8BC2-1204D73AE74C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306EAE57-B768-4DD6-A847-08873BF225C9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7F47C15-2682-4BC7-92E4-6AEF89AB8E09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4057202"/>
              <a:chOff x="-1190625" y="-152136"/>
              <a:chExt cx="11526223" cy="869204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7848E3A-261C-42C9-ACD0-BF121B69622C}"/>
                  </a:ext>
                </a:extLst>
              </p:cNvPr>
              <p:cNvSpPr/>
              <p:nvPr/>
            </p:nvSpPr>
            <p:spPr>
              <a:xfrm>
                <a:off x="-1190625" y="-152136"/>
                <a:ext cx="1120163" cy="869204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B3EEFCEB-FC6D-40B6-9DA2-EF654139DFED}"/>
                  </a:ext>
                </a:extLst>
              </p:cNvPr>
              <p:cNvSpPr/>
              <p:nvPr/>
            </p:nvSpPr>
            <p:spPr>
              <a:xfrm>
                <a:off x="9215999" y="-152136"/>
                <a:ext cx="1119599" cy="869204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0947D02-2923-431D-B144-D7FFAAC32979}"/>
                </a:ext>
              </a:extLst>
            </p:cNvPr>
            <p:cNvSpPr txBox="1"/>
            <p:nvPr/>
          </p:nvSpPr>
          <p:spPr>
            <a:xfrm>
              <a:off x="-1190625" y="676799"/>
              <a:ext cx="938624" cy="4057199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2BD8079-4BE4-448C-B0F3-B38EFD94245D}"/>
                </a:ext>
              </a:extLst>
            </p:cNvPr>
            <p:cNvSpPr txBox="1"/>
            <p:nvPr/>
          </p:nvSpPr>
          <p:spPr>
            <a:xfrm>
              <a:off x="9396974" y="676799"/>
              <a:ext cx="938624" cy="4057199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676800"/>
            <a:ext cx="8640000" cy="4057200"/>
          </a:xfrm>
          <a:solidFill>
            <a:srgbClr val="505A64"/>
          </a:solidFill>
        </p:spPr>
        <p:txBody>
          <a:bodyPr lIns="180000" tIns="180000" rIns="180000" bIns="18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rag and drop a photo here or </a:t>
            </a:r>
            <a:br>
              <a:rPr lang="en-GB" noProof="0"/>
            </a:br>
            <a:r>
              <a:rPr lang="en-GB" noProof="0"/>
              <a:t>Click in this space and go to insert &gt; pictur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3A1A4-DDCD-44BA-8D4C-BC03A66ECF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A8B72A-3190-4D6A-9231-04746F48E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9955AE-3630-4CAF-97E5-6195210432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01EE3C3-13C4-4EF6-AC2B-133BA0FED4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002" y="676800"/>
            <a:ext cx="5878924" cy="4057200"/>
          </a:xfrm>
          <a:gradFill>
            <a:gsLst>
              <a:gs pos="69000">
                <a:schemeClr val="bg1">
                  <a:alpha val="0"/>
                </a:schemeClr>
              </a:gs>
              <a:gs pos="43000">
                <a:schemeClr val="tx2">
                  <a:alpha val="50000"/>
                </a:schemeClr>
              </a:gs>
            </a:gsLst>
            <a:lin ang="1800000" scaled="0"/>
          </a:gradFill>
        </p:spPr>
        <p:txBody>
          <a:bodyPr lIns="360000" tIns="360000" rIns="1800000" bIns="360000" numCol="1" spcCol="180000"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230047E-A3EC-434E-BD11-C032D1E99187}"/>
              </a:ext>
            </a:extLst>
          </p:cNvPr>
          <p:cNvSpPr/>
          <p:nvPr/>
        </p:nvSpPr>
        <p:spPr>
          <a:xfrm>
            <a:off x="8513384" y="1317243"/>
            <a:ext cx="252412" cy="252412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</p:spTree>
    <p:extLst>
      <p:ext uri="{BB962C8B-B14F-4D97-AF65-F5344CB8AC3E}">
        <p14:creationId xmlns:p14="http://schemas.microsoft.com/office/powerpoint/2010/main" val="35425991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3b mPOWER Text on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36E9C982-58BF-4920-9613-C12A23E047EB}"/>
              </a:ext>
            </a:extLst>
          </p:cNvPr>
          <p:cNvGrpSpPr/>
          <p:nvPr/>
        </p:nvGrpSpPr>
        <p:grpSpPr>
          <a:xfrm>
            <a:off x="-1190624" y="0"/>
            <a:ext cx="11526223" cy="5143500"/>
            <a:chOff x="-1190625" y="0"/>
            <a:chExt cx="11526223" cy="514350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5693F3B-D5D8-4AAD-8873-A50C0901E080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0400"/>
              <a:chOff x="-250463" y="-1"/>
              <a:chExt cx="9646463" cy="717069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A388FED-F9DF-4D01-BBAB-4E22FCA2B52D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9E74D2D-D0B7-4C04-9492-D537C4B8674C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14D591D-DC76-402C-BD68-F0ECAF78DB8B}"/>
                </a:ext>
              </a:extLst>
            </p:cNvPr>
            <p:cNvGrpSpPr/>
            <p:nvPr/>
          </p:nvGrpSpPr>
          <p:grpSpPr>
            <a:xfrm>
              <a:off x="-250463" y="0"/>
              <a:ext cx="9646463" cy="680400"/>
              <a:chOff x="-250463" y="-1"/>
              <a:chExt cx="9646463" cy="717069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96690F9-5C5B-4551-B82D-CB52FBAABA17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DD8D1A8-552D-40F6-B411-E49FFD2E68DE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2F13BE1-61B5-4289-9416-25CEDB9F62E3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8C6FDD6-B6BA-4898-B4DF-BED5556AA5BA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69C22DAC-6B9B-4F51-8EF4-539247BA8E12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5BA9642-CA12-44C9-9680-36D53E68E0B0}"/>
                </a:ext>
              </a:extLst>
            </p:cNvPr>
            <p:cNvGrpSpPr/>
            <p:nvPr/>
          </p:nvGrpSpPr>
          <p:grpSpPr>
            <a:xfrm>
              <a:off x="-1190625" y="1386921"/>
              <a:ext cx="11526223" cy="3347078"/>
              <a:chOff x="-1190625" y="-1"/>
              <a:chExt cx="11526223" cy="717069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BBD03BB-D830-4F76-A0AA-DF4A13B82928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45539303-34E9-41D9-B560-2D4207BC6C3F}"/>
                  </a:ext>
                </a:extLst>
              </p:cNvPr>
              <p:cNvSpPr/>
              <p:nvPr/>
            </p:nvSpPr>
            <p:spPr>
              <a:xfrm>
                <a:off x="9215999" y="-1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C285138-EF4A-431F-AE03-1AEF2BD76EF7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1AD9C3F-2220-4019-80EF-B08B26969392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F82CC59-F277-4FE0-8203-D3A9EDD15342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CCF0164-992D-4551-A0F6-591BEAFD3300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1393200"/>
            <a:ext cx="8640000" cy="3340800"/>
          </a:xfrm>
          <a:solidFill>
            <a:srgbClr val="505A64">
              <a:alpha val="0"/>
            </a:srgbClr>
          </a:solidFill>
        </p:spPr>
        <p:txBody>
          <a:bodyPr lIns="180000" tIns="180000" rIns="180000" bIns="18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rag and drop a photo here or </a:t>
            </a:r>
            <a:br>
              <a:rPr lang="en-GB" noProof="0"/>
            </a:br>
            <a:r>
              <a:rPr lang="en-GB" noProof="0"/>
              <a:t>Click in this space and go to insert &gt; pictur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3A1A4-DDCD-44BA-8D4C-BC03A66ECF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A8B72A-3190-4D6A-9231-04746F48E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9955AE-3630-4CAF-97E5-6195210432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22024E-B457-48F8-8DC2-98D07004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01EE3C3-13C4-4EF6-AC2B-133BA0FED4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002" y="1393200"/>
            <a:ext cx="5878924" cy="3340800"/>
          </a:xfrm>
          <a:gradFill>
            <a:gsLst>
              <a:gs pos="73000">
                <a:schemeClr val="bg1">
                  <a:alpha val="0"/>
                </a:schemeClr>
              </a:gs>
              <a:gs pos="47000">
                <a:schemeClr val="tx2">
                  <a:alpha val="50000"/>
                </a:schemeClr>
              </a:gs>
            </a:gsLst>
            <a:lin ang="1800000" scaled="0"/>
          </a:gradFill>
        </p:spPr>
        <p:txBody>
          <a:bodyPr lIns="252000" tIns="252000" rIns="252000" bIns="252000" numCol="2" spcCol="180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230047E-A3EC-434E-BD11-C032D1E99187}"/>
              </a:ext>
            </a:extLst>
          </p:cNvPr>
          <p:cNvSpPr/>
          <p:nvPr/>
        </p:nvSpPr>
        <p:spPr>
          <a:xfrm>
            <a:off x="8513384" y="2033643"/>
            <a:ext cx="252412" cy="252412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7A88B-8CE3-4A74-8752-600E1CE74362}"/>
              </a:ext>
            </a:extLst>
          </p:cNvPr>
          <p:cNvSpPr txBox="1"/>
          <p:nvPr/>
        </p:nvSpPr>
        <p:spPr>
          <a:xfrm>
            <a:off x="250825" y="4816801"/>
            <a:ext cx="1260000" cy="9646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 pitchFamily="18" charset="2"/>
              <a:buNone/>
              <a:tabLst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S Proprietary and Confidential</a:t>
            </a:r>
          </a:p>
        </p:txBody>
      </p:sp>
      <p:pic>
        <p:nvPicPr>
          <p:cNvPr id="13" name="!!Logo_SES">
            <a:extLst>
              <a:ext uri="{FF2B5EF4-FFF2-40B4-BE49-F238E27FC236}">
                <a16:creationId xmlns:a16="http://schemas.microsoft.com/office/drawing/2014/main" id="{81B6ECCA-026C-4D48-A53A-6A642DDC10F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9309" y="168514"/>
            <a:ext cx="604396" cy="288000"/>
          </a:xfrm>
          <a:prstGeom prst="rect">
            <a:avLst/>
          </a:prstGeom>
        </p:spPr>
      </p:pic>
      <p:pic>
        <p:nvPicPr>
          <p:cNvPr id="14" name="!!Logo_O3b_mPower">
            <a:extLst>
              <a:ext uri="{FF2B5EF4-FFF2-40B4-BE49-F238E27FC236}">
                <a16:creationId xmlns:a16="http://schemas.microsoft.com/office/drawing/2014/main" id="{89B3ECF2-8D38-48ED-BED8-D39C1C04D35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050" t="24604" r="3914" b="27817"/>
          <a:stretch/>
        </p:blipFill>
        <p:spPr>
          <a:xfrm>
            <a:off x="7632289" y="288977"/>
            <a:ext cx="1260000" cy="1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450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3b mPOWER Text on imag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698E04B7-6128-49CE-A603-24F70DEFE0DC}"/>
              </a:ext>
            </a:extLst>
          </p:cNvPr>
          <p:cNvGrpSpPr/>
          <p:nvPr/>
        </p:nvGrpSpPr>
        <p:grpSpPr>
          <a:xfrm>
            <a:off x="-1190624" y="0"/>
            <a:ext cx="11526223" cy="5143500"/>
            <a:chOff x="-1190625" y="0"/>
            <a:chExt cx="11526223" cy="5143500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BB46B4E-2873-490F-925B-B959F98962BC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0400"/>
              <a:chOff x="-250463" y="-1"/>
              <a:chExt cx="9646463" cy="717069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310F422B-855B-4762-8143-E258440D4732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1C907C64-CFA7-431B-A29E-CB9FC2687EFF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C5A8741-8DB3-4287-A9A0-A4D4E00CC883}"/>
                </a:ext>
              </a:extLst>
            </p:cNvPr>
            <p:cNvGrpSpPr/>
            <p:nvPr/>
          </p:nvGrpSpPr>
          <p:grpSpPr>
            <a:xfrm>
              <a:off x="-250463" y="0"/>
              <a:ext cx="9646463" cy="680400"/>
              <a:chOff x="-250463" y="-1"/>
              <a:chExt cx="9646463" cy="717069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6588EB4-A56A-47DB-AC7F-0440A0300B73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374EB9C7-C26E-4389-AEDF-EDA21365D0EC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E61A772-041A-4100-95F9-CA2983A06D31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B8EB8D5B-0BBD-4F7B-B198-756AF67EE1F6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49EECEAC-5DAE-4697-BECA-EFAA04441229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AA06129-735C-4EC5-9279-8AC71029CCC6}"/>
                </a:ext>
              </a:extLst>
            </p:cNvPr>
            <p:cNvGrpSpPr/>
            <p:nvPr/>
          </p:nvGrpSpPr>
          <p:grpSpPr>
            <a:xfrm>
              <a:off x="-1190625" y="1386921"/>
              <a:ext cx="11526223" cy="3347078"/>
              <a:chOff x="-1190625" y="-1"/>
              <a:chExt cx="11526223" cy="717069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0EA680A1-4347-47FD-8850-4205BD54C883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762979DF-F299-4CF9-B75F-2ACAADC51AA1}"/>
                  </a:ext>
                </a:extLst>
              </p:cNvPr>
              <p:cNvSpPr/>
              <p:nvPr/>
            </p:nvSpPr>
            <p:spPr>
              <a:xfrm>
                <a:off x="9215999" y="-1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2E858CE-FDFD-4B2D-8802-78D088616A5B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E43F193-AB11-46A7-A09C-CFD5EF19755B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4FE2521-7BBD-47A1-A8BE-B88F296A0E71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0827FD8-C3E1-48AB-BF2F-C39E901D9733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1393200"/>
            <a:ext cx="8640000" cy="3340800"/>
          </a:xfrm>
          <a:solidFill>
            <a:srgbClr val="505A64">
              <a:alpha val="0"/>
            </a:srgbClr>
          </a:solidFill>
        </p:spPr>
        <p:txBody>
          <a:bodyPr lIns="180000" tIns="180000" rIns="180000" bIns="18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rag and drop a photo here or </a:t>
            </a:r>
            <a:br>
              <a:rPr lang="en-GB" noProof="0"/>
            </a:br>
            <a:r>
              <a:rPr lang="en-GB" noProof="0"/>
              <a:t>Click in this space and go to insert &gt; pictur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3A1A4-DDCD-44BA-8D4C-BC03A66ECF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A8B72A-3190-4D6A-9231-04746F48E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9955AE-3630-4CAF-97E5-6195210432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22024E-B457-48F8-8DC2-98D07004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01EE3C3-13C4-4EF6-AC2B-133BA0FED4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002" y="1393200"/>
            <a:ext cx="5878924" cy="3340800"/>
          </a:xfrm>
          <a:gradFill>
            <a:gsLst>
              <a:gs pos="73000">
                <a:schemeClr val="bg1">
                  <a:alpha val="0"/>
                </a:schemeClr>
              </a:gs>
              <a:gs pos="47000">
                <a:schemeClr val="tx2">
                  <a:alpha val="50000"/>
                </a:schemeClr>
              </a:gs>
            </a:gsLst>
            <a:lin ang="1800000" scaled="0"/>
          </a:gradFill>
        </p:spPr>
        <p:txBody>
          <a:bodyPr lIns="252000" tIns="252000" rIns="1692000" bIns="252000" numCol="1" spcCol="180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230047E-A3EC-434E-BD11-C032D1E99187}"/>
              </a:ext>
            </a:extLst>
          </p:cNvPr>
          <p:cNvSpPr/>
          <p:nvPr/>
        </p:nvSpPr>
        <p:spPr>
          <a:xfrm>
            <a:off x="8513384" y="2033643"/>
            <a:ext cx="252412" cy="252412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7A88B-8CE3-4A74-8752-600E1CE74362}"/>
              </a:ext>
            </a:extLst>
          </p:cNvPr>
          <p:cNvSpPr txBox="1"/>
          <p:nvPr/>
        </p:nvSpPr>
        <p:spPr>
          <a:xfrm>
            <a:off x="250825" y="4816801"/>
            <a:ext cx="1260000" cy="9646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 pitchFamily="18" charset="2"/>
              <a:buNone/>
              <a:tabLst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S Proprietary and Confidential</a:t>
            </a:r>
          </a:p>
        </p:txBody>
      </p:sp>
      <p:pic>
        <p:nvPicPr>
          <p:cNvPr id="13" name="!!Logo_SES">
            <a:extLst>
              <a:ext uri="{FF2B5EF4-FFF2-40B4-BE49-F238E27FC236}">
                <a16:creationId xmlns:a16="http://schemas.microsoft.com/office/drawing/2014/main" id="{81B6ECCA-026C-4D48-A53A-6A642DDC10F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9309" y="168514"/>
            <a:ext cx="604396" cy="288000"/>
          </a:xfrm>
          <a:prstGeom prst="rect">
            <a:avLst/>
          </a:prstGeom>
        </p:spPr>
      </p:pic>
      <p:pic>
        <p:nvPicPr>
          <p:cNvPr id="14" name="!!Logo_O3b_mPower">
            <a:extLst>
              <a:ext uri="{FF2B5EF4-FFF2-40B4-BE49-F238E27FC236}">
                <a16:creationId xmlns:a16="http://schemas.microsoft.com/office/drawing/2014/main" id="{89B3ECF2-8D38-48ED-BED8-D39C1C04D35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050" t="24604" r="3914" b="27817"/>
          <a:stretch/>
        </p:blipFill>
        <p:spPr>
          <a:xfrm>
            <a:off x="7632289" y="288977"/>
            <a:ext cx="1260000" cy="1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35244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789D8575-5158-72F9-709F-6AEF6D864382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0B4406C-7596-30A0-C508-91FFCE2F91E0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C82B041-5C94-032F-3804-D7EDD7C0CDE2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815A7F80-FDE9-C9AE-72AF-0AFE1742B2CF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9B0B996-0EDD-75E5-7963-748D2E342EA8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10A828F-B628-C1AF-F08F-9D7C1A224E09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E232F572-45EC-AA2A-92E6-9D406E9DB9BD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8EA2832-DB87-C965-7F0F-089DD230CC45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21EA3F7-C566-3BEB-6B0A-EF122AAD5C13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F28F02C9-AE92-A37E-96B7-2DEF6143DD9F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BB154046-2C1A-6B55-1B7F-37EBC82866BF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54D71F42-8E1D-31F5-7BBE-F743E82C963B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32EC49BB-45AD-DFEB-3072-67B68ED02EE3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F829CB4-2F2B-0BB5-CC31-F5796AA0FFE5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8F03365-C4BB-635C-C46B-7D3F79D9196F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4308354-2226-AD52-CB9B-EEAFF60D6BDA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AE4D687-E9CD-B318-B6BB-0FB3D3646000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23200" y="1393200"/>
            <a:ext cx="4176000" cy="334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393200"/>
            <a:ext cx="4176000" cy="334080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3A1A4-DDCD-44BA-8D4C-BC03A66ECF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A8B72A-3190-4D6A-9231-04746F48E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9955AE-3630-4CAF-97E5-6195210432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22024E-B457-48F8-8DC2-98D07004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064262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908252AB-05CE-2390-9B6C-92577152372C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2BC033B-38D6-B67F-1F48-56F49382FFF4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C30F38C3-391C-AC50-534E-8029347DC20C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F4F171E0-31E2-73F5-5A7C-FF980FADC5DB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AEF575BB-A913-42C5-4ECE-A814EC96F0AE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D1CD750-1814-AFBF-4A99-6F9A75D4A5B2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17D1F006-7921-FC34-0FB0-8C4BF978F820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F9BE1EF-F1A7-784C-9951-0980F24ACB0C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1A54EA8C-EB86-705B-88B6-BF1F3170F727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F067A670-FF30-8655-4792-16BB8D933415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8F57CC7-2F7F-88D8-C3A6-07CC562EC891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7E51627-85AF-9109-7E23-02444AFB7BCD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444BC538-D1E8-E69F-2890-00410CE30E72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9CB56F8-2A1C-8845-886F-A4F7F6B69218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7FCB4FE-63D7-1009-5A88-F90F2AC69118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4104BE-4985-0789-4173-26F2E22FCD65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1B547F6-AAFC-FDD0-95BA-D160BDFE171A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000" y="1393200"/>
            <a:ext cx="4176000" cy="334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23200" y="1393200"/>
            <a:ext cx="4176000" cy="334080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92305D-1255-4670-823E-CE244D3E200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9CEFED-564F-46B9-8F49-6882552F6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6BBCCF2-011D-48D1-8F84-DD12795234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D103A0-4AAC-4868-99D7-B10D8DFC2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391180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 with ca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91FCCB08-C069-048B-B7A6-C9CD3ACF4A16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7D36775-F1F6-628C-55BE-B3FE809CEB31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3E8BB10D-B12C-14CA-A17F-33196AFBCFB0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FDC12189-587F-143A-7EBD-B1DC9867EAE4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8071510-7518-29A0-6B29-631C4BFF95A1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2C6D60D2-E0D0-8921-ECE7-A13C358D4320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96CDFF4-9798-BC78-980A-087BBFB338F0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CA228AA-B537-348C-B37F-70D7C2526F8B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028A2809-0013-21A5-CF42-860AA7BE5926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6BD835F-BD4F-2D0E-7984-678456C47DC5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DFB5D7F-E69B-626A-CF2D-F3313537A880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5D0FDA39-EF81-775F-F978-6B1A73724CDF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5F127C6-8120-4B83-D6AE-1FDAAA38AF2A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5E752C2-E404-B7E5-2D82-13A1C63F4900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6A63A49-FA3A-2A26-D573-61595E1FE82F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1B288D7-6D8B-0F95-3072-523EAF270252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80366A1-39FC-7A76-99E5-7EA028EFA7C3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393200"/>
            <a:ext cx="4176000" cy="334080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EDA851-5E93-405D-A4F0-1CD43A59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647BFB1-D38D-484B-BDCE-58A1F0B3FF8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759372B-8F70-40B5-B0C9-4B32F87727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23200" y="1393200"/>
            <a:ext cx="4176000" cy="334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36D9D8-40D9-4F80-B7CB-B52EDA45D3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4626000"/>
            <a:ext cx="4176000" cy="108000"/>
          </a:xfrm>
          <a:solidFill>
            <a:schemeClr val="bg1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700" i="1"/>
            </a:lvl1pPr>
          </a:lstStyle>
          <a:p>
            <a:pPr lvl="0"/>
            <a:r>
              <a:rPr lang="en-GB"/>
              <a:t>Click to edit cap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A2CD2B-498C-4460-9D08-72D13E246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216991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ca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FA2A4019-791A-E974-122B-3FA9749B5E7F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D0D8B6F-3D88-759E-654C-5C69D38A2AFF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BF254DDE-5FD4-2D98-0517-65E890751833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F5BAAD64-0F27-574F-B048-0BF69FC388B1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06BA1BC-E64B-4D71-FFDA-F277A2C01341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560A310-C730-06FD-51C8-E1E8AA39D42F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DC3D54D-C26E-D2C5-5E06-BF88C2A89AF7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591C712-01FF-A00E-2B66-3515C0FAC9E9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11D65D29-FD87-4420-91C8-F96975C03C2A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6ED153F7-D9FC-5DE2-2E08-E8071BD20915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C03457DF-E8E3-1040-5670-CAD39AB3559E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4632ED9-A221-C30A-283D-CC755892599B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D774C0E-80A6-6E9A-A853-7EFCE9E5CFBE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327689D-956E-0838-D797-A791D7B623D3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E2E5C7F-2B5D-8200-F012-ACF38AF0B4DF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D2AE05C-6006-D9D3-FBF7-120FD99860CD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0F8E848-1C6D-502C-3BAB-A2BA8A0C0549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23200" y="1393200"/>
            <a:ext cx="4176000" cy="334080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AAEC77-EBDA-4058-8E87-C60A5C259F4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465773-7A35-48FF-AA45-9D0352E2DAF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B249F9E-24B5-4C28-913C-3B6BB20C58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000" y="1393200"/>
            <a:ext cx="4176000" cy="334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36D9D8-40D9-4F80-B7CB-B52EDA45D3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3200" y="4626000"/>
            <a:ext cx="4176000" cy="108000"/>
          </a:xfrm>
          <a:solidFill>
            <a:schemeClr val="bg1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700" i="1"/>
            </a:lvl1pPr>
          </a:lstStyle>
          <a:p>
            <a:pPr lvl="0"/>
            <a:r>
              <a:rPr lang="en-GB"/>
              <a:t>Click to edit cap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A65924D-9054-4FDA-9BC8-B45E110E3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112593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them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88617BFA-B012-4A97-85C2-502B1CB671E2}"/>
              </a:ext>
            </a:extLst>
          </p:cNvPr>
          <p:cNvSpPr/>
          <p:nvPr/>
        </p:nvSpPr>
        <p:spPr bwMode="white">
          <a:xfrm>
            <a:off x="250826" y="2"/>
            <a:ext cx="8642350" cy="679438"/>
          </a:xfrm>
          <a:prstGeom prst="rect">
            <a:avLst/>
          </a:prstGeom>
          <a:solidFill>
            <a:srgbClr val="FFFFFF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F74336AD-C137-4CF7-8A5A-BB36B7463A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89601" y="255600"/>
            <a:ext cx="2941325" cy="1242120"/>
          </a:xfrm>
        </p:spPr>
        <p:txBody>
          <a:bodyPr tIns="36000" anchor="t" anchorCtr="0">
            <a:noAutofit/>
          </a:bodyPr>
          <a:lstStyle>
            <a:lvl1pPr>
              <a:lnSpc>
                <a:spcPts val="2600"/>
              </a:lnSpc>
              <a:defRPr sz="3200" kern="100" cap="all" spc="-15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</a:t>
            </a:r>
            <a:br>
              <a:rPr lang="en-GB"/>
            </a:br>
            <a:r>
              <a:rPr lang="en-GB"/>
              <a:t>to add </a:t>
            </a:r>
            <a:br>
              <a:rPr lang="en-GB"/>
            </a:br>
            <a:r>
              <a:rPr lang="en-GB"/>
              <a:t>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F9761556-4EB9-4BB0-A1FC-932802613C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9600" y="1659600"/>
            <a:ext cx="5076000" cy="216000"/>
          </a:xfrm>
        </p:spPr>
        <p:txBody>
          <a:bodyPr wrap="square">
            <a:noAutofit/>
          </a:bodyPr>
          <a:lstStyle>
            <a:lvl1pPr marL="0" indent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476F785C-C435-4F40-9FBA-40B63D838B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9200" y="1566000"/>
            <a:ext cx="1800000" cy="304800"/>
          </a:xfrm>
          <a:prstGeom prst="rect">
            <a:avLst/>
          </a:prstGeom>
        </p:spPr>
        <p:txBody>
          <a:bodyPr vert="horz" lIns="0" tIns="7200" rIns="0" bIns="0" anchor="t" anchorCtr="0">
            <a:no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[Firstname Lastname]</a:t>
            </a:r>
          </a:p>
          <a:p>
            <a:pPr lvl="0"/>
            <a:r>
              <a:rPr lang="en-GB" noProof="0"/>
              <a:t>[Job Title]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070921FA-5623-4EE4-A905-B55BC3E05448}"/>
              </a:ext>
            </a:extLst>
          </p:cNvPr>
          <p:cNvSpPr txBox="1">
            <a:spLocks/>
          </p:cNvSpPr>
          <p:nvPr/>
        </p:nvSpPr>
        <p:spPr>
          <a:xfrm>
            <a:off x="259200" y="1447200"/>
            <a:ext cx="1800000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3000"/>
              </a:lnSpc>
              <a:spcBef>
                <a:spcPts val="0"/>
              </a:spcBef>
              <a:spcAft>
                <a:spcPts val="0"/>
              </a:spcAft>
              <a:buFont typeface="Wingdings 3" panose="05040102010807070707" pitchFamily="18" charset="2"/>
              <a:buNone/>
              <a:defRPr sz="9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2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4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6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3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b="1">
                <a:solidFill>
                  <a:schemeClr val="tx1"/>
                </a:solidFill>
              </a:rPr>
              <a:t>Presented by</a:t>
            </a:r>
          </a:p>
        </p:txBody>
      </p:sp>
      <p:sp>
        <p:nvSpPr>
          <p:cNvPr id="32" name="Date Placeholder 1">
            <a:extLst>
              <a:ext uri="{FF2B5EF4-FFF2-40B4-BE49-F238E27FC236}">
                <a16:creationId xmlns:a16="http://schemas.microsoft.com/office/drawing/2014/main" id="{7A2B60FB-B031-4FB4-AB7B-C27F5E5D9854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440000" y="4816801"/>
            <a:ext cx="1080000" cy="96470"/>
          </a:xfrm>
        </p:spPr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33" name="Footer Placeholder 2">
            <a:extLst>
              <a:ext uri="{FF2B5EF4-FFF2-40B4-BE49-F238E27FC236}">
                <a16:creationId xmlns:a16="http://schemas.microsoft.com/office/drawing/2014/main" id="{67B65D4C-2297-47AA-A0F1-4B2BB328126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083797" y="4820400"/>
            <a:ext cx="3600000" cy="93600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5DBF939B-A86C-45A4-847A-61A1CCC1AD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711588" y="4816800"/>
            <a:ext cx="180000" cy="97200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5" name="Line 9">
            <a:extLst>
              <a:ext uri="{FF2B5EF4-FFF2-40B4-BE49-F238E27FC236}">
                <a16:creationId xmlns:a16="http://schemas.microsoft.com/office/drawing/2014/main" id="{9AD957DF-A3C4-486B-81E0-674AA3A586F2}"/>
              </a:ext>
            </a:extLst>
          </p:cNvPr>
          <p:cNvSpPr>
            <a:spLocks noChangeShapeType="1"/>
          </p:cNvSpPr>
          <p:nvPr/>
        </p:nvSpPr>
        <p:spPr bwMode="auto">
          <a:xfrm>
            <a:off x="3189289" y="1491608"/>
            <a:ext cx="324577" cy="0"/>
          </a:xfrm>
          <a:prstGeom prst="line">
            <a:avLst/>
          </a:prstGeom>
          <a:noFill/>
          <a:ln w="5715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rgbClr val="000000"/>
              </a:solidFill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30A49087-DC58-4E0B-9FB0-F0CEC681423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4827" y="147975"/>
            <a:ext cx="755494" cy="360000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1BD2D7B-EB16-4446-86EB-6677ECBFC965}"/>
              </a:ext>
            </a:extLst>
          </p:cNvPr>
          <p:cNvCxnSpPr>
            <a:cxnSpLocks/>
          </p:cNvCxnSpPr>
          <p:nvPr/>
        </p:nvCxnSpPr>
        <p:spPr>
          <a:xfrm flipH="1">
            <a:off x="8265600" y="-180000"/>
            <a:ext cx="0" cy="108000"/>
          </a:xfrm>
          <a:prstGeom prst="line">
            <a:avLst/>
          </a:prstGeom>
          <a:ln>
            <a:solidFill>
              <a:srgbClr val="B40082"/>
            </a:solidFill>
            <a:prstDash val="sysDash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7ACA735A-0198-47C3-AF34-8E2B35CFF9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999" y="1940401"/>
            <a:ext cx="8640000" cy="2790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64677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57F75A6C-CF0A-AF97-6FFC-F57FBAB1CD7D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5326C41-15B1-94FE-3E38-9E04BC6410EC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614789F3-1BE2-8F2F-11C4-9F3D2C1D213C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121E012E-8D5B-C6DD-9DE6-1D0C5B74ECF9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02C3E18-0EE0-C59C-AE6D-122EAA230BF0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60D7CF90-BA42-AD3D-1287-2ED99FE741B0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CAF0DEB-AECD-F2A1-82E9-370FB93CEA43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6948F5D-ABFF-D764-EAB4-BE8B1A38111B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D250E67-708B-0B14-756C-6A6E50A3A10E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A1E66D0C-CD1E-27AA-5B1D-B4AC0FE287B0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2660755-E8FF-7D60-D251-6C8A8DA18CE7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088DB383-1C75-7BB4-7E00-4D59BA4ACEDA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0B794872-1D13-18C3-C2F2-56A963C45CBC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45A0760-051E-8AF1-513F-A544D299D550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F3793CC-6D5B-326C-91BD-8D3B5A9ECD02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96EF199-7F55-DAA1-4A3B-1930853C5CDC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B085089-D49D-D58E-44A4-9C2414EFBE1F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393200"/>
            <a:ext cx="8640000" cy="3340800"/>
          </a:xfrm>
        </p:spPr>
        <p:txBody>
          <a:bodyPr/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8C959F-8DB9-47AF-8782-A96486D64A5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8D5D7A-5A9C-4626-BA9B-FF45CA28F3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E5AA49B-12DA-4D36-AC60-9C67905FB4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36BCC82-7635-469E-ADF6-3223ECDD7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343058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011C1591-C026-E7FA-EF34-B077F83881FF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4C630AB1-568D-A5FD-E856-59B516CE6925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BFC7981-50BD-CC75-00D1-6A773E01D11F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49C8E539-2DFF-27FF-E31E-CA3A6FF3EC04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87E8959-1A5D-EFFF-FCF5-C4E4C788A44B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B954F7E-883A-7CFE-8F7B-DCF5535278A0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6499B99-D02C-AFFC-9317-E0089861A192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6FCDE43-9584-48DB-7B16-9B167ED20718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BCB5D70-6C63-F3CC-73AF-ABCC04DF9971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78ADD3B-50FC-F154-CC8E-40C12886B510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D6825FA3-B779-1667-DBD7-369D4CEFF561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EDBAD3BB-FC07-B574-80E0-8BC1BECDE032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25EBA4DC-40F2-C48F-67D1-A29BE2C42C2C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D24DA96-43A4-77DF-C2C8-5F60A79D3BD2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6B9F6F1-0B1A-1818-AB3E-E6A05714A1BE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854EFA6-B13A-4DC8-4CB4-39198C45A7B8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F93FEED-584C-88DD-2FAB-108EFE1405F1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26303B-BE9F-4383-8C3E-1AD466129B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393200"/>
            <a:ext cx="8640000" cy="31464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36D9D8-40D9-4F80-B7CB-B52EDA45D3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4539600"/>
            <a:ext cx="8640000" cy="108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700" i="1"/>
            </a:lvl1pPr>
          </a:lstStyle>
          <a:p>
            <a:pPr lvl="0"/>
            <a:r>
              <a:rPr lang="en-GB"/>
              <a:t>Click to edit ca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D83327-20D6-4264-8A2A-39BE937EBAF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4C8889-9D51-45F3-A9C6-9B54B49014D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A44E52-1D58-4F87-8BF2-51DCC916DEB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49968FD-75C7-479F-B90F-721898ED6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95421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6E6F4B13-5F31-4A83-89CC-5D34A8007F38}"/>
              </a:ext>
            </a:extLst>
          </p:cNvPr>
          <p:cNvGrpSpPr/>
          <p:nvPr/>
        </p:nvGrpSpPr>
        <p:grpSpPr>
          <a:xfrm>
            <a:off x="-1190624" y="0"/>
            <a:ext cx="11526223" cy="5143500"/>
            <a:chOff x="-1190625" y="0"/>
            <a:chExt cx="11526223" cy="514350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90F8485-68A2-414E-9FCA-1C35033793E9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0400"/>
              <a:chOff x="-250463" y="-1"/>
              <a:chExt cx="9646463" cy="717069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FFA7E41-73A2-4E36-993E-942B9EEE0E75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6E96D8DC-D86E-4873-8F06-37A4D5087672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5203F42-FA4C-4E61-BDC9-08B8C891A343}"/>
                </a:ext>
              </a:extLst>
            </p:cNvPr>
            <p:cNvGrpSpPr/>
            <p:nvPr/>
          </p:nvGrpSpPr>
          <p:grpSpPr>
            <a:xfrm>
              <a:off x="-250463" y="0"/>
              <a:ext cx="9646463" cy="680400"/>
              <a:chOff x="-250463" y="-1"/>
              <a:chExt cx="9646463" cy="717069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89D13E84-F39B-466F-A3BE-6AA5DE52548F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6D9FA542-58C6-451D-8B89-03EF78932EC1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D22C042E-DCAD-443F-A599-802B167A9DA2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806516"/>
              <a:chOff x="-1190625" y="-1"/>
              <a:chExt cx="11526223" cy="1147218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B572AB9-1CED-4ED0-B3C7-D284B8323A90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0963438-A797-4E7F-95E5-C3D9928A4276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F5FE9627-6FF2-47A8-A708-1F8D025B82AD}"/>
                  </a:ext>
                </a:extLst>
              </p:cNvPr>
              <p:cNvSpPr/>
              <p:nvPr/>
            </p:nvSpPr>
            <p:spPr>
              <a:xfrm>
                <a:off x="-1190625" y="737554"/>
                <a:ext cx="1120163" cy="409663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A5B59BDF-C947-45F3-9D9A-EC8D58A1ADBF}"/>
                  </a:ext>
                </a:extLst>
              </p:cNvPr>
              <p:cNvSpPr/>
              <p:nvPr/>
            </p:nvSpPr>
            <p:spPr>
              <a:xfrm>
                <a:off x="9215998" y="737554"/>
                <a:ext cx="1119600" cy="409663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2FA30E3-B676-40DC-BCAC-1FF294057460}"/>
                </a:ext>
              </a:extLst>
            </p:cNvPr>
            <p:cNvGrpSpPr/>
            <p:nvPr/>
          </p:nvGrpSpPr>
          <p:grpSpPr>
            <a:xfrm>
              <a:off x="-1190625" y="1619999"/>
              <a:ext cx="11526223" cy="3114000"/>
              <a:chOff x="-1190625" y="49933"/>
              <a:chExt cx="11526223" cy="667135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9AD4CE6-AAFB-4AF7-826F-7DF2B8861A03}"/>
                  </a:ext>
                </a:extLst>
              </p:cNvPr>
              <p:cNvSpPr/>
              <p:nvPr/>
            </p:nvSpPr>
            <p:spPr>
              <a:xfrm>
                <a:off x="-1190625" y="49933"/>
                <a:ext cx="1120163" cy="66713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EC0227DF-E2F5-4722-ADB1-71DC3FCC5355}"/>
                  </a:ext>
                </a:extLst>
              </p:cNvPr>
              <p:cNvSpPr/>
              <p:nvPr/>
            </p:nvSpPr>
            <p:spPr>
              <a:xfrm>
                <a:off x="9215999" y="49933"/>
                <a:ext cx="1119599" cy="66713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31FC64F-BD92-4950-BEC1-9B3CD288945C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52B3629-0549-4538-876E-C23FD31F417A}"/>
                </a:ext>
              </a:extLst>
            </p:cNvPr>
            <p:cNvSpPr txBox="1"/>
            <p:nvPr/>
          </p:nvSpPr>
          <p:spPr>
            <a:xfrm>
              <a:off x="-1190625" y="1620000"/>
              <a:ext cx="938624" cy="311399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86EC857-58EA-49AF-A1EA-82E54D4366F7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6A3F3CD-15E5-4E11-85B2-FF6C3A0EDA11}"/>
                </a:ext>
              </a:extLst>
            </p:cNvPr>
            <p:cNvSpPr txBox="1"/>
            <p:nvPr/>
          </p:nvSpPr>
          <p:spPr>
            <a:xfrm>
              <a:off x="9396974" y="1620000"/>
              <a:ext cx="938624" cy="311399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31A1511-E9DB-4F20-B042-1B393FF08043}"/>
                </a:ext>
              </a:extLst>
            </p:cNvPr>
            <p:cNvSpPr txBox="1"/>
            <p:nvPr/>
          </p:nvSpPr>
          <p:spPr>
            <a:xfrm>
              <a:off x="-1190625" y="1195312"/>
              <a:ext cx="938624" cy="288001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B5ADC9D-8D05-4975-BFA1-C22C9AB9019F}"/>
                </a:ext>
              </a:extLst>
            </p:cNvPr>
            <p:cNvSpPr txBox="1"/>
            <p:nvPr/>
          </p:nvSpPr>
          <p:spPr>
            <a:xfrm>
              <a:off x="9396974" y="1195312"/>
              <a:ext cx="938624" cy="288001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E82758-8F0B-4F32-9F0E-0109B5A876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195314"/>
            <a:ext cx="8640000" cy="288000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2EE6254-B5C9-4CDE-8D0E-3D7A3D2DC38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52000" y="1620000"/>
            <a:ext cx="8640000" cy="290519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F516189-9BEB-40D3-99C0-92390F75BB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2000" y="4539600"/>
            <a:ext cx="8640000" cy="108000"/>
          </a:xfrm>
        </p:spPr>
        <p:txBody>
          <a:bodyPr/>
          <a:lstStyle>
            <a:lvl1pPr marL="0" indent="0">
              <a:buNone/>
              <a:defRPr sz="700" i="1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05462C-5E2C-4E60-BAEC-7D1914F31AC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BEB699-48C8-425F-9080-5CBD1CD55FD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FE21B59-2626-4F98-B21D-C66CC8EA45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C33EF2-393B-4E35-A8CF-850DBC75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2745554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s slide internal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2AC04926-94E8-4C47-B116-5C57A4901297}"/>
              </a:ext>
            </a:extLst>
          </p:cNvPr>
          <p:cNvGrpSpPr/>
          <p:nvPr/>
        </p:nvGrpSpPr>
        <p:grpSpPr>
          <a:xfrm>
            <a:off x="-1190624" y="0"/>
            <a:ext cx="11526223" cy="5143500"/>
            <a:chOff x="-1190625" y="0"/>
            <a:chExt cx="11526223" cy="514350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B7C453B4-CA81-489F-A149-7D62E0403925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0400"/>
              <a:chOff x="-250463" y="-1"/>
              <a:chExt cx="9646463" cy="717069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975E2BEF-D768-4AC9-9B21-EF73C38A54A9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26A308D6-642D-424D-ADB9-1E11BD513203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7AF2EE30-D6E2-4281-8156-7CE484A24388}"/>
                </a:ext>
              </a:extLst>
            </p:cNvPr>
            <p:cNvGrpSpPr/>
            <p:nvPr/>
          </p:nvGrpSpPr>
          <p:grpSpPr>
            <a:xfrm>
              <a:off x="-250463" y="0"/>
              <a:ext cx="9646463" cy="680400"/>
              <a:chOff x="-250463" y="-1"/>
              <a:chExt cx="9646463" cy="717069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69B2880E-6D82-4C55-B845-1CC1688E7983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BDDB92D-44EB-464A-A3FF-3DA5FF11FF56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6C132FA7-7055-4C5E-BC7C-93EBFE1E9860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0843"/>
              <a:chOff x="-1190625" y="-1"/>
              <a:chExt cx="11526223" cy="712417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8C577306-5F7F-4F67-9EE5-698E70A2E09B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35853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31264B84-0486-4975-9EFE-871C48CD29D4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35853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608C81A8-F5F6-411B-9D30-FEFD0B36FE08}"/>
                  </a:ext>
                </a:extLst>
              </p:cNvPr>
              <p:cNvSpPr/>
              <p:nvPr/>
            </p:nvSpPr>
            <p:spPr>
              <a:xfrm>
                <a:off x="-1190625" y="405170"/>
                <a:ext cx="1120163" cy="307246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9B6A567C-2503-4087-92E3-8F5CFCF7F901}"/>
                  </a:ext>
                </a:extLst>
              </p:cNvPr>
              <p:cNvSpPr/>
              <p:nvPr/>
            </p:nvSpPr>
            <p:spPr>
              <a:xfrm>
                <a:off x="9215998" y="405170"/>
                <a:ext cx="1119600" cy="307246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52EF36EA-2875-4AF7-A3B3-84D23AD3E3D1}"/>
                </a:ext>
              </a:extLst>
            </p:cNvPr>
            <p:cNvGrpSpPr/>
            <p:nvPr/>
          </p:nvGrpSpPr>
          <p:grpSpPr>
            <a:xfrm>
              <a:off x="-1190625" y="1216969"/>
              <a:ext cx="11526223" cy="3517030"/>
              <a:chOff x="-1190625" y="-36411"/>
              <a:chExt cx="11526223" cy="753479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AE531B50-AABD-4CB5-92A0-75B7DB8A082C}"/>
                  </a:ext>
                </a:extLst>
              </p:cNvPr>
              <p:cNvSpPr/>
              <p:nvPr/>
            </p:nvSpPr>
            <p:spPr>
              <a:xfrm>
                <a:off x="-1190625" y="-36411"/>
                <a:ext cx="1120163" cy="75347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FA0937C4-00F4-4889-9545-EE5508F3967E}"/>
                  </a:ext>
                </a:extLst>
              </p:cNvPr>
              <p:cNvSpPr/>
              <p:nvPr/>
            </p:nvSpPr>
            <p:spPr>
              <a:xfrm>
                <a:off x="9215999" y="-36411"/>
                <a:ext cx="1119599" cy="75347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4362A63-1078-4E5B-8FFA-5572DE859C04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252057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716F680-FA3B-43C9-B064-478CD236C868}"/>
                </a:ext>
              </a:extLst>
            </p:cNvPr>
            <p:cNvSpPr txBox="1"/>
            <p:nvPr/>
          </p:nvSpPr>
          <p:spPr>
            <a:xfrm>
              <a:off x="-1190625" y="1216967"/>
              <a:ext cx="938624" cy="3517031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8BA5A22-706E-4F56-BBEF-84DF7E308B94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252057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79B31EF-8875-4A43-A075-966C32489B9D}"/>
                </a:ext>
              </a:extLst>
            </p:cNvPr>
            <p:cNvSpPr txBox="1"/>
            <p:nvPr/>
          </p:nvSpPr>
          <p:spPr>
            <a:xfrm>
              <a:off x="9396974" y="1216967"/>
              <a:ext cx="938624" cy="3517031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160DC16-5E69-4F4F-BB6D-C8179F3BDCDE}"/>
                </a:ext>
              </a:extLst>
            </p:cNvPr>
            <p:cNvSpPr txBox="1"/>
            <p:nvPr/>
          </p:nvSpPr>
          <p:spPr>
            <a:xfrm>
              <a:off x="-1190625" y="961640"/>
              <a:ext cx="938624" cy="216000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24EF0131-5138-444E-9604-4D00E7691B85}"/>
                </a:ext>
              </a:extLst>
            </p:cNvPr>
            <p:cNvSpPr txBox="1"/>
            <p:nvPr/>
          </p:nvSpPr>
          <p:spPr>
            <a:xfrm>
              <a:off x="9396974" y="961640"/>
              <a:ext cx="938624" cy="216000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</p:grp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A60D8D6-30A8-40A8-B2F8-BBE9228140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964912"/>
            <a:ext cx="8640000" cy="21600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730A636B-954B-4D45-91AB-E850744BEF5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52000" y="1216968"/>
            <a:ext cx="8640000" cy="330823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788B16B6-443B-413D-BF0B-86FE7A224A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2000" y="4539175"/>
            <a:ext cx="8640000" cy="108000"/>
          </a:xfrm>
        </p:spPr>
        <p:txBody>
          <a:bodyPr/>
          <a:lstStyle>
            <a:lvl1pPr marL="0" indent="0">
              <a:buNone/>
              <a:defRPr sz="700" i="1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DA4CBF2-2219-478C-9887-3B1A2BC53B36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3FBC46C-BB2B-42A7-8BA0-19D0CBE000F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8ACEACF-0448-47DF-ACA1-6FAED9CC289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6CEF82-F019-471D-86D6-128317378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1"/>
            <a:ext cx="8640000" cy="252057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626023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A">
    <p:bg>
      <p:bgPr>
        <a:solidFill>
          <a:srgbClr val="0505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AE920CE-9526-465C-8902-1FF39EC17EEF}"/>
              </a:ext>
            </a:extLst>
          </p:cNvPr>
          <p:cNvSpPr/>
          <p:nvPr/>
        </p:nvSpPr>
        <p:spPr bwMode="white">
          <a:xfrm>
            <a:off x="1" y="5042644"/>
            <a:ext cx="9143999" cy="108000"/>
          </a:xfrm>
          <a:prstGeom prst="rect">
            <a:avLst/>
          </a:prstGeom>
          <a:solidFill>
            <a:srgbClr val="050505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53F9AF1-CE90-4222-BD2B-DC8E300930B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190875" y="250824"/>
            <a:ext cx="5700713" cy="4482000"/>
          </a:xfrm>
          <a:solidFill>
            <a:srgbClr val="AEB8C3"/>
          </a:solidFill>
        </p:spPr>
        <p:txBody>
          <a:bodyPr lIns="180000" tIns="180000" rIns="180000" bIns="180000" anchor="b" anchorCtr="0"/>
          <a:lstStyle>
            <a:lvl1pPr marL="0" indent="0" algn="r">
              <a:lnSpc>
                <a:spcPct val="100000"/>
              </a:lnSpc>
              <a:buNone/>
              <a:defRPr sz="1050"/>
            </a:lvl1pPr>
          </a:lstStyle>
          <a:p>
            <a:r>
              <a:rPr lang="en-GB"/>
              <a:t>Drag and drop a photo here or </a:t>
            </a:r>
            <a:br>
              <a:rPr lang="en-GB"/>
            </a:br>
            <a:r>
              <a:rPr lang="en-GB"/>
              <a:t>Click in this space and go to insert &gt; pictures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89E6A3-57CA-4EE0-B100-48883AEB7A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7" y="2145601"/>
            <a:ext cx="2760662" cy="822721"/>
          </a:xfrm>
        </p:spPr>
        <p:txBody>
          <a:bodyPr tIns="36000" anchor="t" anchorCtr="0">
            <a:noAutofit/>
          </a:bodyPr>
          <a:lstStyle>
            <a:lvl1pPr>
              <a:lnSpc>
                <a:spcPts val="2000"/>
              </a:lnSpc>
              <a:spcBef>
                <a:spcPts val="600"/>
              </a:spcBef>
              <a:spcAft>
                <a:spcPts val="200"/>
              </a:spcAft>
              <a:defRPr sz="2400" kern="100" cap="all" spc="-1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to edit section title max 3 lin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DC1A4-A2FC-4D14-A471-5A595A68B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  20 May 2022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11B0E32-D2B9-41B0-BC0D-11D1F33AF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DFAE2E-5AC4-4E3A-B397-F1082F628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Line 9">
            <a:extLst>
              <a:ext uri="{FF2B5EF4-FFF2-40B4-BE49-F238E27FC236}">
                <a16:creationId xmlns:a16="http://schemas.microsoft.com/office/drawing/2014/main" id="{B8DE8A8B-AE5A-43CC-AFC5-4046E81BEFE9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827" y="1974317"/>
            <a:ext cx="359956" cy="0"/>
          </a:xfrm>
          <a:prstGeom prst="line">
            <a:avLst/>
          </a:prstGeom>
          <a:noFill/>
          <a:ln w="57150" cmpd="sng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chemeClr val="bg1"/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746C523-A69A-4CB7-BD27-69C3F5FB9F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85587" y="250824"/>
            <a:ext cx="5709600" cy="4485600"/>
          </a:xfrm>
          <a:prstGeom prst="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180000" tIns="180000" rIns="180000" bIns="180000">
            <a:noAutofit/>
          </a:bodyPr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O3b mPower perspective lin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6CE583-25BA-499F-B484-DC49AE189821}"/>
              </a:ext>
            </a:extLst>
          </p:cNvPr>
          <p:cNvSpPr txBox="1"/>
          <p:nvPr/>
        </p:nvSpPr>
        <p:spPr bwMode="gray">
          <a:xfrm>
            <a:off x="250825" y="4816801"/>
            <a:ext cx="1260000" cy="9646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 pitchFamily="18" charset="2"/>
              <a:buNone/>
              <a:tabLst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S Proprietary and Confidential</a:t>
            </a:r>
          </a:p>
        </p:txBody>
      </p:sp>
      <p:pic>
        <p:nvPicPr>
          <p:cNvPr id="15" name="!!Logo_SES">
            <a:extLst>
              <a:ext uri="{FF2B5EF4-FFF2-40B4-BE49-F238E27FC236}">
                <a16:creationId xmlns:a16="http://schemas.microsoft.com/office/drawing/2014/main" id="{5E63136C-DE1F-4757-ADA9-E571E0403D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gray">
          <a:xfrm>
            <a:off x="239309" y="168514"/>
            <a:ext cx="604396" cy="288000"/>
          </a:xfrm>
          <a:prstGeom prst="rect">
            <a:avLst/>
          </a:prstGeom>
        </p:spPr>
      </p:pic>
      <p:pic>
        <p:nvPicPr>
          <p:cNvPr id="16" name="!!Logo_O3b_mPower">
            <a:extLst>
              <a:ext uri="{FF2B5EF4-FFF2-40B4-BE49-F238E27FC236}">
                <a16:creationId xmlns:a16="http://schemas.microsoft.com/office/drawing/2014/main" id="{BC98482A-E0E0-4799-BEA8-C49BBAD55F5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050" t="24604" r="3914" b="27817"/>
          <a:stretch/>
        </p:blipFill>
        <p:spPr bwMode="gray">
          <a:xfrm>
            <a:off x="1751488" y="288977"/>
            <a:ext cx="1260000" cy="1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097660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 bwMode="gray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0E08996-4DB7-4480-9ED3-1F888AB264AB}"/>
              </a:ext>
            </a:extLst>
          </p:cNvPr>
          <p:cNvSpPr txBox="1"/>
          <p:nvPr/>
        </p:nvSpPr>
        <p:spPr bwMode="gray">
          <a:xfrm>
            <a:off x="250825" y="4816801"/>
            <a:ext cx="1260000" cy="9646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 pitchFamily="18" charset="2"/>
              <a:buNone/>
              <a:tabLst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S Proprietary and Confidenti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C12391E-A3FC-4142-9A4E-2C51645DE0C8}"/>
              </a:ext>
            </a:extLst>
          </p:cNvPr>
          <p:cNvSpPr/>
          <p:nvPr/>
        </p:nvSpPr>
        <p:spPr bwMode="gray">
          <a:xfrm>
            <a:off x="250826" y="679439"/>
            <a:ext cx="8642350" cy="4051433"/>
          </a:xfrm>
          <a:prstGeom prst="rect">
            <a:avLst/>
          </a:prstGeom>
          <a:gradFill>
            <a:gsLst>
              <a:gs pos="10000">
                <a:srgbClr val="C859A8"/>
              </a:gs>
              <a:gs pos="90000">
                <a:srgbClr val="2ECDF7"/>
              </a:gs>
            </a:gsLst>
            <a:lin ang="1860000" scaled="0"/>
          </a:gra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CD2133-2382-41BC-A6ED-10FD977EE490}"/>
              </a:ext>
            </a:extLst>
          </p:cNvPr>
          <p:cNvGrpSpPr/>
          <p:nvPr/>
        </p:nvGrpSpPr>
        <p:grpSpPr bwMode="gray">
          <a:xfrm>
            <a:off x="250826" y="679439"/>
            <a:ext cx="8642350" cy="4051433"/>
            <a:chOff x="250825" y="679438"/>
            <a:chExt cx="8642350" cy="4051433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2137802-9990-4CFC-9F0C-504E2344A6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12473" y="679438"/>
              <a:ext cx="1785987" cy="4051433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E09F2B0-F051-4557-AD0F-996B27B92C9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50825" y="1055003"/>
              <a:ext cx="8642350" cy="1305425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8A5E6A9-2227-459E-AF27-25B3D4D0DD5D}"/>
                </a:ext>
              </a:extLst>
            </p:cNvPr>
            <p:cNvSpPr/>
            <p:nvPr/>
          </p:nvSpPr>
          <p:spPr bwMode="gray">
            <a:xfrm>
              <a:off x="250825" y="679438"/>
              <a:ext cx="450000" cy="4500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6350">
              <a:solidFill>
                <a:schemeClr val="accent5">
                  <a:alpha val="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/>
            </a:p>
          </p:txBody>
        </p:sp>
      </p:grpSp>
      <p:sp>
        <p:nvSpPr>
          <p:cNvPr id="21" name="Line 9">
            <a:extLst>
              <a:ext uri="{FF2B5EF4-FFF2-40B4-BE49-F238E27FC236}">
                <a16:creationId xmlns:a16="http://schemas.microsoft.com/office/drawing/2014/main" id="{88CAB82C-DC85-4CDA-98E7-BB158E7FC761}"/>
              </a:ext>
            </a:extLst>
          </p:cNvPr>
          <p:cNvSpPr>
            <a:spLocks noChangeShapeType="1"/>
          </p:cNvSpPr>
          <p:nvPr/>
        </p:nvSpPr>
        <p:spPr bwMode="gray">
          <a:xfrm>
            <a:off x="3184176" y="2345220"/>
            <a:ext cx="359956" cy="0"/>
          </a:xfrm>
          <a:prstGeom prst="line">
            <a:avLst/>
          </a:prstGeom>
          <a:noFill/>
          <a:ln w="57150" cmpd="sng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rgbClr val="0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89E6A3-57CA-4EE0-B100-48883AEB7A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186000" y="2520000"/>
            <a:ext cx="3672000" cy="990000"/>
          </a:xfrm>
        </p:spPr>
        <p:txBody>
          <a:bodyPr tIns="36000" anchor="t" anchorCtr="0">
            <a:noAutofit/>
          </a:bodyPr>
          <a:lstStyle>
            <a:lvl1pPr>
              <a:lnSpc>
                <a:spcPts val="2400"/>
              </a:lnSpc>
              <a:spcBef>
                <a:spcPts val="600"/>
              </a:spcBef>
              <a:spcAft>
                <a:spcPts val="200"/>
              </a:spcAft>
              <a:defRPr sz="2800" kern="100" cap="all" spc="-1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Click to edit section title max 3 lin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D6BA58-8547-40A8-AB71-0589E769EE7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  20 May 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877E83-97B2-4727-8319-C5EC768E2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CC0C4F3-E661-48B0-B59B-73354FE73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6" name="!!Logo_SES">
            <a:extLst>
              <a:ext uri="{FF2B5EF4-FFF2-40B4-BE49-F238E27FC236}">
                <a16:creationId xmlns:a16="http://schemas.microsoft.com/office/drawing/2014/main" id="{59956447-BEF9-4678-A4B5-5C97F0F0130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gray">
          <a:xfrm>
            <a:off x="239309" y="168514"/>
            <a:ext cx="604396" cy="288000"/>
          </a:xfrm>
          <a:prstGeom prst="rect">
            <a:avLst/>
          </a:prstGeom>
        </p:spPr>
      </p:pic>
      <p:pic>
        <p:nvPicPr>
          <p:cNvPr id="19" name="!!Logo_O3b_mPower">
            <a:extLst>
              <a:ext uri="{FF2B5EF4-FFF2-40B4-BE49-F238E27FC236}">
                <a16:creationId xmlns:a16="http://schemas.microsoft.com/office/drawing/2014/main" id="{A664C9EE-6FDD-4363-AA89-17BE855FC4F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050" t="24604" r="3914" b="27817"/>
          <a:stretch/>
        </p:blipFill>
        <p:spPr bwMode="gray">
          <a:xfrm>
            <a:off x="7632289" y="288977"/>
            <a:ext cx="1260000" cy="1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976017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7DC43F62-12E8-70B5-97EC-0259CDB722A1}"/>
              </a:ext>
            </a:extLst>
          </p:cNvPr>
          <p:cNvGrpSpPr/>
          <p:nvPr/>
        </p:nvGrpSpPr>
        <p:grpSpPr>
          <a:xfrm>
            <a:off x="-1190624" y="-6531"/>
            <a:ext cx="11526223" cy="5157175"/>
            <a:chOff x="-1190625" y="-6531"/>
            <a:chExt cx="11526223" cy="515717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A227905-3B73-64B9-2B18-E62DB220F732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7544"/>
              <a:chOff x="-250463" y="-1"/>
              <a:chExt cx="9646463" cy="729551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804DB80-C5EC-06C1-2A41-F00FFD32CDE9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12475261-8CAE-DB10-67B8-ABCEB6E1241E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29551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A76ED38-D998-0F53-2F24-5262373598BC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0052374-3AB0-4176-CF02-015578141AEF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065DF337-AC68-BFF9-D4F5-37781999498C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CC0D1848-F860-6BB6-CB30-7FE4893A6B3E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55DD5899-B615-1987-2BBB-5366F68256C3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1E914881-3996-94A7-B2DB-2A016CC2D778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3319C2B-0707-80AE-4772-ED3E82BAC78B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5802DC2-79CB-1255-5E71-92E432B54ABD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15D7110-84E9-4857-0E08-1342DEEA2817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65C8341-6A17-1C62-FCDD-A0492BB000CE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9880DD5-D0E0-4790-F944-1903256BAE14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BB17497-B134-934F-16D7-B2C65CC3C50D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229A948-74B6-9875-D13C-C1F08D05DBA9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6AE63CA-85EA-4FDC-89AE-D9E922578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F8D085-F647-4B93-ABFE-A60DF5BA4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5A68627-4DC8-4BBE-A1ED-416CE84C5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C0CB15F-A3D2-4FB6-9BA0-192E0CA06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8711413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691E914-804C-445E-AA1D-BB0E7942D1D2}"/>
              </a:ext>
            </a:extLst>
          </p:cNvPr>
          <p:cNvGrpSpPr/>
          <p:nvPr/>
        </p:nvGrpSpPr>
        <p:grpSpPr>
          <a:xfrm>
            <a:off x="-1190624" y="0"/>
            <a:ext cx="11526223" cy="5143500"/>
            <a:chOff x="-1190625" y="0"/>
            <a:chExt cx="11526223" cy="514350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A8240CB-DD1A-4801-8BBB-019D21FE6BDC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0400"/>
              <a:chOff x="-250463" y="-1"/>
              <a:chExt cx="9646463" cy="717069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FDF86BBE-E9B6-4408-95CE-BABC65C54EB0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2A15A35-46E6-40D9-9BA7-9F652D204E92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35F06B0-B078-49D1-B3F3-BF9E21D4643B}"/>
                </a:ext>
              </a:extLst>
            </p:cNvPr>
            <p:cNvGrpSpPr/>
            <p:nvPr/>
          </p:nvGrpSpPr>
          <p:grpSpPr>
            <a:xfrm>
              <a:off x="-250463" y="0"/>
              <a:ext cx="9646463" cy="680400"/>
              <a:chOff x="-250463" y="-1"/>
              <a:chExt cx="9646463" cy="71706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A5D1C32-FB58-48D3-AD22-E17D1941D45A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22151AE-5431-483E-806D-1F99BDD11F45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1CD1005-3383-4B18-83DB-5F517FBBAFC4}"/>
                </a:ext>
              </a:extLst>
            </p:cNvPr>
            <p:cNvGrpSpPr/>
            <p:nvPr/>
          </p:nvGrpSpPr>
          <p:grpSpPr>
            <a:xfrm>
              <a:off x="-1190625" y="680401"/>
              <a:ext cx="11526223" cy="4053598"/>
              <a:chOff x="-1190625" y="-151364"/>
              <a:chExt cx="11526223" cy="868432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F3B7E29F-3D58-4FC6-92A2-3D09F0A2A231}"/>
                  </a:ext>
                </a:extLst>
              </p:cNvPr>
              <p:cNvSpPr/>
              <p:nvPr/>
            </p:nvSpPr>
            <p:spPr>
              <a:xfrm>
                <a:off x="-1190625" y="-151364"/>
                <a:ext cx="1120163" cy="868432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470D74C-8199-4ABC-ABB5-47686BC4ADAA}"/>
                  </a:ext>
                </a:extLst>
              </p:cNvPr>
              <p:cNvSpPr/>
              <p:nvPr/>
            </p:nvSpPr>
            <p:spPr>
              <a:xfrm>
                <a:off x="9215999" y="-151364"/>
                <a:ext cx="1119599" cy="868432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A8177D3-5614-4491-8DC7-EFDE49B3385B}"/>
                </a:ext>
              </a:extLst>
            </p:cNvPr>
            <p:cNvSpPr txBox="1"/>
            <p:nvPr/>
          </p:nvSpPr>
          <p:spPr>
            <a:xfrm>
              <a:off x="-1190625" y="680401"/>
              <a:ext cx="938624" cy="405359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C6484A5-133A-4047-8DBC-78F4B84537F7}"/>
                </a:ext>
              </a:extLst>
            </p:cNvPr>
            <p:cNvSpPr txBox="1"/>
            <p:nvPr/>
          </p:nvSpPr>
          <p:spPr>
            <a:xfrm>
              <a:off x="9396974" y="680401"/>
              <a:ext cx="938624" cy="405359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E60B64F-7608-4B19-ABFF-6123F9F41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6E8EE6DB-DB07-4FBB-B9DD-7C8A6B593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E93365F-7C55-41CB-B3BC-70A9C1F3D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0260106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ing slide/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43B736F-3C1D-4926-9050-7FFD2D097CD1}"/>
              </a:ext>
            </a:extLst>
          </p:cNvPr>
          <p:cNvSpPr/>
          <p:nvPr/>
        </p:nvSpPr>
        <p:spPr bwMode="white">
          <a:xfrm>
            <a:off x="250826" y="2"/>
            <a:ext cx="8642350" cy="679438"/>
          </a:xfrm>
          <a:prstGeom prst="rect">
            <a:avLst/>
          </a:prstGeom>
          <a:solidFill>
            <a:srgbClr val="FFFFFF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0DC5C5F-5FAB-46F7-8234-342FC32CDA6D}"/>
              </a:ext>
            </a:extLst>
          </p:cNvPr>
          <p:cNvSpPr/>
          <p:nvPr/>
        </p:nvSpPr>
        <p:spPr bwMode="gray">
          <a:xfrm>
            <a:off x="250826" y="679439"/>
            <a:ext cx="8642350" cy="4051433"/>
          </a:xfrm>
          <a:prstGeom prst="rect">
            <a:avLst/>
          </a:prstGeom>
          <a:solidFill>
            <a:schemeClr val="tx1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6D46543-AB36-478E-9FC4-3E35ACB52EBC}"/>
              </a:ext>
            </a:extLst>
          </p:cNvPr>
          <p:cNvGrpSpPr/>
          <p:nvPr/>
        </p:nvGrpSpPr>
        <p:grpSpPr>
          <a:xfrm>
            <a:off x="250826" y="679439"/>
            <a:ext cx="8642350" cy="4051433"/>
            <a:chOff x="250825" y="679438"/>
            <a:chExt cx="8642350" cy="4051433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5DE304A-12E1-47DB-8CBF-0674E5C9B54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12473" y="679438"/>
              <a:ext cx="1785987" cy="4051433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F0D0D23-0E60-475D-A584-840E40203C6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50825" y="1055003"/>
              <a:ext cx="8642350" cy="1305425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8B91EF1-C32E-4D8E-9741-375716FB0B10}"/>
                </a:ext>
              </a:extLst>
            </p:cNvPr>
            <p:cNvSpPr/>
            <p:nvPr/>
          </p:nvSpPr>
          <p:spPr bwMode="hidden">
            <a:xfrm>
              <a:off x="250825" y="679438"/>
              <a:ext cx="450000" cy="4500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6350">
              <a:solidFill>
                <a:schemeClr val="accent5">
                  <a:alpha val="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/>
            </a:p>
          </p:txBody>
        </p:sp>
      </p:grp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3189600" y="1933201"/>
            <a:ext cx="3240000" cy="393569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lnSpc>
                <a:spcPct val="103000"/>
              </a:lnSpc>
              <a:spcAft>
                <a:spcPts val="0"/>
              </a:spcAft>
              <a:buNone/>
              <a:defRPr sz="1200" b="1" baseline="0">
                <a:solidFill>
                  <a:schemeClr val="bg1"/>
                </a:solidFill>
              </a:defRPr>
            </a:lvl1pPr>
            <a:lvl2pPr marL="0" indent="0">
              <a:lnSpc>
                <a:spcPct val="103000"/>
              </a:lnSpc>
              <a:buNone/>
              <a:defRPr sz="1200">
                <a:solidFill>
                  <a:schemeClr val="bg1"/>
                </a:solidFill>
              </a:defRPr>
            </a:lvl2pPr>
            <a:lvl3pPr marL="449003" indent="0">
              <a:buNone/>
              <a:defRPr sz="1200"/>
            </a:lvl3pPr>
            <a:lvl4pPr marL="646993" indent="0">
              <a:buNone/>
              <a:defRPr sz="1200"/>
            </a:lvl4pPr>
            <a:lvl5pPr marL="828570" indent="0">
              <a:buNone/>
              <a:defRPr sz="1200"/>
            </a:lvl5pPr>
          </a:lstStyle>
          <a:p>
            <a:pPr lvl="0"/>
            <a:r>
              <a:rPr lang="en-GB" noProof="0"/>
              <a:t>Contact Name</a:t>
            </a:r>
          </a:p>
          <a:p>
            <a:pPr lvl="1"/>
            <a:r>
              <a:rPr lang="en-GB" noProof="0"/>
              <a:t>Contact Title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3189600" y="2530800"/>
            <a:ext cx="3240000" cy="71199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lnSpc>
                <a:spcPct val="103000"/>
              </a:lnSpc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269012" indent="0">
              <a:buNone/>
              <a:defRPr sz="1200"/>
            </a:lvl2pPr>
            <a:lvl3pPr marL="449003" indent="0">
              <a:buNone/>
              <a:defRPr sz="1200"/>
            </a:lvl3pPr>
            <a:lvl4pPr marL="646993" indent="0">
              <a:buNone/>
              <a:defRPr sz="1200"/>
            </a:lvl4pPr>
            <a:lvl5pPr marL="828570" indent="0">
              <a:buNone/>
              <a:defRPr sz="1200"/>
            </a:lvl5pPr>
          </a:lstStyle>
          <a:p>
            <a:pPr lvl="0"/>
            <a:r>
              <a:rPr lang="en-GB" noProof="0"/>
              <a:t>Contact email address</a:t>
            </a:r>
          </a:p>
          <a:p>
            <a:pPr lvl="0"/>
            <a:r>
              <a:rPr lang="en-GB" noProof="0"/>
              <a:t>T +000 000 000</a:t>
            </a:r>
          </a:p>
          <a:p>
            <a:pPr lvl="0"/>
            <a:r>
              <a:rPr lang="en-GB" noProof="0"/>
              <a:t>M +000 000 00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950B4A-F8D1-43C5-A593-A58026B61D3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6F2E5-8897-49EE-A000-962E3D52F68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5E3E81-617A-47A0-8EC2-5666C7EDEA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3" name="!!Logo_SES">
            <a:extLst>
              <a:ext uri="{FF2B5EF4-FFF2-40B4-BE49-F238E27FC236}">
                <a16:creationId xmlns:a16="http://schemas.microsoft.com/office/drawing/2014/main" id="{CBCD4C2B-E3EB-4341-AFA7-C17830B89D9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4827" y="147975"/>
            <a:ext cx="755494" cy="360000"/>
          </a:xfrm>
          <a:prstGeom prst="rect">
            <a:avLst/>
          </a:prstGeom>
        </p:spPr>
      </p:pic>
      <p:pic>
        <p:nvPicPr>
          <p:cNvPr id="34" name="!!Logo_O3b_mPower">
            <a:extLst>
              <a:ext uri="{FF2B5EF4-FFF2-40B4-BE49-F238E27FC236}">
                <a16:creationId xmlns:a16="http://schemas.microsoft.com/office/drawing/2014/main" id="{031BE1E9-9DAA-4BD3-BDA5-94C9FF7BF57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050" t="24604" r="3914" b="27817"/>
          <a:stretch/>
        </p:blipFill>
        <p:spPr>
          <a:xfrm>
            <a:off x="7465080" y="309303"/>
            <a:ext cx="1440000" cy="200558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EC03DB21-1234-48FD-B0DB-3AFD04B0D2C1}"/>
              </a:ext>
            </a:extLst>
          </p:cNvPr>
          <p:cNvSpPr/>
          <p:nvPr/>
        </p:nvSpPr>
        <p:spPr bwMode="white">
          <a:xfrm>
            <a:off x="1" y="5042644"/>
            <a:ext cx="9143999" cy="108000"/>
          </a:xfrm>
          <a:prstGeom prst="rect">
            <a:avLst/>
          </a:prstGeom>
          <a:solidFill>
            <a:srgbClr val="FFFFFF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4B7135-919C-A1AB-724D-6FEB8369F3DB}"/>
              </a:ext>
            </a:extLst>
          </p:cNvPr>
          <p:cNvGrpSpPr/>
          <p:nvPr/>
        </p:nvGrpSpPr>
        <p:grpSpPr>
          <a:xfrm>
            <a:off x="3189289" y="3692917"/>
            <a:ext cx="1583000" cy="443353"/>
            <a:chOff x="3189289" y="3692917"/>
            <a:chExt cx="1583000" cy="443353"/>
          </a:xfrm>
        </p:grpSpPr>
        <p:sp>
          <p:nvSpPr>
            <p:cNvPr id="37" name="Line 9">
              <a:extLst>
                <a:ext uri="{FF2B5EF4-FFF2-40B4-BE49-F238E27FC236}">
                  <a16:creationId xmlns:a16="http://schemas.microsoft.com/office/drawing/2014/main" id="{F1A23185-367A-65FA-D9AF-A87FE590A02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189289" y="3692917"/>
              <a:ext cx="324577" cy="0"/>
            </a:xfrm>
            <a:prstGeom prst="line">
              <a:avLst/>
            </a:prstGeom>
            <a:noFill/>
            <a:ln w="57150" cmpd="sng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1200" noProof="0">
                <a:solidFill>
                  <a:schemeClr val="bg1"/>
                </a:solidFill>
              </a:endParaRPr>
            </a:p>
          </p:txBody>
        </p:sp>
        <p:grpSp>
          <p:nvGrpSpPr>
            <p:cNvPr id="38" name="Group 7">
              <a:extLst>
                <a:ext uri="{FF2B5EF4-FFF2-40B4-BE49-F238E27FC236}">
                  <a16:creationId xmlns:a16="http://schemas.microsoft.com/office/drawing/2014/main" id="{A5291AB9-C32E-A6CF-CD0D-6EEEEDE8D11B}"/>
                </a:ext>
              </a:extLst>
            </p:cNvPr>
            <p:cNvGrpSpPr/>
            <p:nvPr/>
          </p:nvGrpSpPr>
          <p:grpSpPr>
            <a:xfrm>
              <a:off x="3189600" y="3920270"/>
              <a:ext cx="1582689" cy="216000"/>
              <a:chOff x="481242" y="4490342"/>
              <a:chExt cx="1582689" cy="216000"/>
            </a:xfrm>
          </p:grpSpPr>
          <p:pic>
            <p:nvPicPr>
              <p:cNvPr id="39" name="Picture 13">
                <a:hlinkClick r:id="rId6"/>
                <a:extLst>
                  <a:ext uri="{FF2B5EF4-FFF2-40B4-BE49-F238E27FC236}">
                    <a16:creationId xmlns:a16="http://schemas.microsoft.com/office/drawing/2014/main" id="{91849CFC-0167-29EF-6680-AA5C80336D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1303803" y="4493546"/>
                <a:ext cx="212796" cy="212796"/>
              </a:xfrm>
              <a:prstGeom prst="rect">
                <a:avLst/>
              </a:prstGeom>
            </p:spPr>
          </p:pic>
          <p:pic>
            <p:nvPicPr>
              <p:cNvPr id="40" name="Picture 14">
                <a:hlinkClick r:id="rId9"/>
                <a:extLst>
                  <a:ext uri="{FF2B5EF4-FFF2-40B4-BE49-F238E27FC236}">
                    <a16:creationId xmlns:a16="http://schemas.microsoft.com/office/drawing/2014/main" id="{D8388EC0-9BCF-21EE-39FA-55E7A1B993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/>
              <a:stretch/>
            </p:blipFill>
            <p:spPr>
              <a:xfrm>
                <a:off x="481242" y="4490342"/>
                <a:ext cx="215925" cy="215925"/>
              </a:xfrm>
              <a:prstGeom prst="rect">
                <a:avLst/>
              </a:prstGeom>
            </p:spPr>
          </p:pic>
          <p:pic>
            <p:nvPicPr>
              <p:cNvPr id="41" name="Picture 15">
                <a:hlinkClick r:id="rId12"/>
                <a:extLst>
                  <a:ext uri="{FF2B5EF4-FFF2-40B4-BE49-F238E27FC236}">
                    <a16:creationId xmlns:a16="http://schemas.microsoft.com/office/drawing/2014/main" id="{C865CE4C-5B40-3C7D-F138-5736FF421A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756472" y="4493546"/>
                <a:ext cx="212796" cy="212796"/>
              </a:xfrm>
              <a:prstGeom prst="rect">
                <a:avLst/>
              </a:prstGeom>
            </p:spPr>
          </p:pic>
          <p:pic>
            <p:nvPicPr>
              <p:cNvPr id="42" name="Picture 16">
                <a:hlinkClick r:id="rId15"/>
                <a:extLst>
                  <a:ext uri="{FF2B5EF4-FFF2-40B4-BE49-F238E27FC236}">
                    <a16:creationId xmlns:a16="http://schemas.microsoft.com/office/drawing/2014/main" id="{7DBDE4BA-04CA-E36A-C8BD-6E54BBBE91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/>
              <a:stretch/>
            </p:blipFill>
            <p:spPr>
              <a:xfrm>
                <a:off x="1028573" y="4490342"/>
                <a:ext cx="215925" cy="215925"/>
              </a:xfrm>
              <a:prstGeom prst="rect">
                <a:avLst/>
              </a:prstGeom>
            </p:spPr>
          </p:pic>
          <p:pic>
            <p:nvPicPr>
              <p:cNvPr id="43" name="Picture 10">
                <a:hlinkClick r:id="rId18"/>
                <a:extLst>
                  <a:ext uri="{FF2B5EF4-FFF2-40B4-BE49-F238E27FC236}">
                    <a16:creationId xmlns:a16="http://schemas.microsoft.com/office/drawing/2014/main" id="{41C6B0BB-F477-DD08-C2DC-53D95298E7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rcRect/>
              <a:stretch/>
            </p:blipFill>
            <p:spPr>
              <a:xfrm>
                <a:off x="1848006" y="4490342"/>
                <a:ext cx="215925" cy="215925"/>
              </a:xfrm>
              <a:prstGeom prst="rect">
                <a:avLst/>
              </a:prstGeom>
            </p:spPr>
          </p:pic>
          <p:pic>
            <p:nvPicPr>
              <p:cNvPr id="44" name="Picture 17">
                <a:hlinkClick r:id="rId21"/>
                <a:extLst>
                  <a:ext uri="{FF2B5EF4-FFF2-40B4-BE49-F238E27FC236}">
                    <a16:creationId xmlns:a16="http://schemas.microsoft.com/office/drawing/2014/main" id="{4EDCB08C-11FB-9964-A66C-BF6BF529E2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rcRect/>
              <a:stretch/>
            </p:blipFill>
            <p:spPr>
              <a:xfrm>
                <a:off x="1575904" y="4493546"/>
                <a:ext cx="212796" cy="21279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674463747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6DEC2AEF-93BE-4805-9CBD-5746C8B97A37}"/>
              </a:ext>
            </a:extLst>
          </p:cNvPr>
          <p:cNvGrpSpPr/>
          <p:nvPr/>
        </p:nvGrpSpPr>
        <p:grpSpPr>
          <a:xfrm>
            <a:off x="-1190624" y="-6531"/>
            <a:ext cx="11526223" cy="5158079"/>
            <a:chOff x="-1190625" y="-6531"/>
            <a:chExt cx="11526223" cy="515807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6DBF0B4-9BEC-4A6D-8409-03925368AAE3}"/>
                </a:ext>
              </a:extLst>
            </p:cNvPr>
            <p:cNvGrpSpPr/>
            <p:nvPr/>
          </p:nvGrpSpPr>
          <p:grpSpPr>
            <a:xfrm>
              <a:off x="-250463" y="4733099"/>
              <a:ext cx="9646463" cy="418449"/>
              <a:chOff x="-250463" y="-3"/>
              <a:chExt cx="9646463" cy="731133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C00DC86-9DAD-45BC-86F8-3A8A124316C6}"/>
                  </a:ext>
                </a:extLst>
              </p:cNvPr>
              <p:cNvSpPr/>
              <p:nvPr/>
            </p:nvSpPr>
            <p:spPr>
              <a:xfrm>
                <a:off x="-250463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92FB510-B482-45A4-A61C-8EB733CC14BF}"/>
                  </a:ext>
                </a:extLst>
              </p:cNvPr>
              <p:cNvSpPr/>
              <p:nvPr/>
            </p:nvSpPr>
            <p:spPr>
              <a:xfrm>
                <a:off x="9215999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1E189D7-F029-4D8E-B7C5-1980521F4140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0ED6DE9-4CBE-493B-9358-F058911E4B13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301C1C73-C04D-4CDE-81B0-42D3ACCE53C2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2EAF6D0-7CD5-4557-A7A3-D2AF986FE85E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94CF9AE-1713-4CB7-B07C-B82E9575F8EB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E159DFB7-FC35-4CD9-A4EC-201CA305354D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D0C7D45-83A2-4D3A-8FB9-1F3DE8ED34B0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51DD838-F58B-4E37-886E-911F1CCC5B11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E49CF581-D6B3-458B-BB23-98A92F08E0D5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1A4DC84-93D2-475A-AB6A-EE6493790C3E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9500D8F-48C4-4B33-A363-E29DC5520BA9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2048053-9CDC-4EA8-AF6B-40AA621E345B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BE8B523-F628-4BBA-8575-7B1B4FC80122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197662A-5F81-4291-B8C9-7BFAC86D358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1393200"/>
            <a:ext cx="8640000" cy="3340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Bullet level 2</a:t>
            </a:r>
          </a:p>
          <a:p>
            <a:pPr lvl="2"/>
            <a:r>
              <a:rPr lang="en-GB"/>
              <a:t>Bullet level 3</a:t>
            </a:r>
          </a:p>
          <a:p>
            <a:pPr lvl="3"/>
            <a:r>
              <a:rPr lang="en-GB"/>
              <a:t>Bullet level 4</a:t>
            </a:r>
          </a:p>
          <a:p>
            <a:pPr lvl="4"/>
            <a:r>
              <a:rPr lang="en-GB"/>
              <a:t>Bullet level 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5DEA42-67F2-49B0-9C5F-779585F9EF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C97084-BD7B-4936-9268-B16722C55CF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EAF9C82-45E9-4465-979B-36BC83C80C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B60AC2-81D3-4B2D-9FD3-8F7859B4F25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1669794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6E98CD35-B5F1-46BF-880B-98FB60C5FA81}"/>
              </a:ext>
            </a:extLst>
          </p:cNvPr>
          <p:cNvGrpSpPr/>
          <p:nvPr/>
        </p:nvGrpSpPr>
        <p:grpSpPr>
          <a:xfrm>
            <a:off x="-1190624" y="-6531"/>
            <a:ext cx="11526223" cy="5150031"/>
            <a:chOff x="-1190625" y="-6531"/>
            <a:chExt cx="11526223" cy="515003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EF113EF-66DA-484B-8A57-719CCBBA24D4}"/>
                </a:ext>
              </a:extLst>
            </p:cNvPr>
            <p:cNvGrpSpPr/>
            <p:nvPr/>
          </p:nvGrpSpPr>
          <p:grpSpPr>
            <a:xfrm>
              <a:off x="-250463" y="4733100"/>
              <a:ext cx="9646463" cy="410400"/>
              <a:chOff x="-250463" y="-1"/>
              <a:chExt cx="9646463" cy="717069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ACC4E19C-B188-441C-88CA-131C4DD190F0}"/>
                  </a:ext>
                </a:extLst>
              </p:cNvPr>
              <p:cNvSpPr/>
              <p:nvPr/>
            </p:nvSpPr>
            <p:spPr>
              <a:xfrm>
                <a:off x="-250463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9F41B301-1694-4E8E-993E-60DFA88151F2}"/>
                  </a:ext>
                </a:extLst>
              </p:cNvPr>
              <p:cNvSpPr/>
              <p:nvPr/>
            </p:nvSpPr>
            <p:spPr>
              <a:xfrm>
                <a:off x="9215999" y="-1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BADD13C-D3D7-4CCF-98C3-D96CE84D2488}"/>
                </a:ext>
              </a:extLst>
            </p:cNvPr>
            <p:cNvGrpSpPr/>
            <p:nvPr/>
          </p:nvGrpSpPr>
          <p:grpSpPr>
            <a:xfrm>
              <a:off x="-250463" y="-6531"/>
              <a:ext cx="9646462" cy="504000"/>
              <a:chOff x="-250463" y="-6884"/>
              <a:chExt cx="9646462" cy="531163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C2A3FE7-4CBF-4D3E-8867-0C6C953F5AEE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53116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C99E3F1-DF62-49EE-8F15-CDDEF2212292}"/>
                  </a:ext>
                </a:extLst>
              </p:cNvPr>
              <p:cNvSpPr/>
              <p:nvPr/>
            </p:nvSpPr>
            <p:spPr>
              <a:xfrm>
                <a:off x="9215998" y="-6884"/>
                <a:ext cx="180001" cy="53116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08E4B09-DB0E-45B7-9651-91A3ABB03AC4}"/>
                </a:ext>
              </a:extLst>
            </p:cNvPr>
            <p:cNvGrpSpPr/>
            <p:nvPr/>
          </p:nvGrpSpPr>
          <p:grpSpPr>
            <a:xfrm>
              <a:off x="-1190625" y="494637"/>
              <a:ext cx="11526223" cy="2065587"/>
              <a:chOff x="-1190625" y="-259112"/>
              <a:chExt cx="11526223" cy="2938167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DF9B0C30-D4A3-4178-B675-1F11D04B41C3}"/>
                  </a:ext>
                </a:extLst>
              </p:cNvPr>
              <p:cNvSpPr/>
              <p:nvPr/>
            </p:nvSpPr>
            <p:spPr>
              <a:xfrm>
                <a:off x="-1190625" y="-259112"/>
                <a:ext cx="1120163" cy="1766667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7BBFFC49-FF2A-427B-ADE9-AF6C3B4108B8}"/>
                  </a:ext>
                </a:extLst>
              </p:cNvPr>
              <p:cNvSpPr/>
              <p:nvPr/>
            </p:nvSpPr>
            <p:spPr>
              <a:xfrm>
                <a:off x="9215998" y="-259112"/>
                <a:ext cx="1119600" cy="1766667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CB84D01-E37F-4356-813C-9F4714C73A40}"/>
                  </a:ext>
                </a:extLst>
              </p:cNvPr>
              <p:cNvSpPr/>
              <p:nvPr/>
            </p:nvSpPr>
            <p:spPr>
              <a:xfrm>
                <a:off x="-1190625" y="2005850"/>
                <a:ext cx="1120163" cy="67320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F7F002F5-0FC9-4CEC-AB41-9FD6CE67B20C}"/>
                  </a:ext>
                </a:extLst>
              </p:cNvPr>
              <p:cNvSpPr/>
              <p:nvPr/>
            </p:nvSpPr>
            <p:spPr>
              <a:xfrm>
                <a:off x="9215998" y="2005850"/>
                <a:ext cx="1119600" cy="673205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A15D94A-E5A7-4F7D-8F55-06E68040E382}"/>
                </a:ext>
              </a:extLst>
            </p:cNvPr>
            <p:cNvGrpSpPr/>
            <p:nvPr/>
          </p:nvGrpSpPr>
          <p:grpSpPr>
            <a:xfrm>
              <a:off x="-1190625" y="2663370"/>
              <a:ext cx="11526223" cy="2070629"/>
              <a:chOff x="-1190625" y="273462"/>
              <a:chExt cx="11526223" cy="443606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CF05EDB-C8AE-4200-948F-D3C2E4D38C4C}"/>
                  </a:ext>
                </a:extLst>
              </p:cNvPr>
              <p:cNvSpPr/>
              <p:nvPr/>
            </p:nvSpPr>
            <p:spPr>
              <a:xfrm>
                <a:off x="-1190625" y="273462"/>
                <a:ext cx="1120163" cy="443606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4A7A726-E4B1-44F2-BECB-5E9D0E7E0291}"/>
                  </a:ext>
                </a:extLst>
              </p:cNvPr>
              <p:cNvSpPr/>
              <p:nvPr/>
            </p:nvSpPr>
            <p:spPr>
              <a:xfrm>
                <a:off x="9215999" y="273462"/>
                <a:ext cx="1119599" cy="443606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387BF0A-B51E-4191-ADA5-55DA7232B361}"/>
                </a:ext>
              </a:extLst>
            </p:cNvPr>
            <p:cNvSpPr txBox="1"/>
            <p:nvPr/>
          </p:nvSpPr>
          <p:spPr>
            <a:xfrm>
              <a:off x="-1190625" y="494637"/>
              <a:ext cx="938624" cy="1242000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8B7D9C6-08A2-4E10-BA23-B46F5C5C5810}"/>
                </a:ext>
              </a:extLst>
            </p:cNvPr>
            <p:cNvSpPr txBox="1"/>
            <p:nvPr/>
          </p:nvSpPr>
          <p:spPr>
            <a:xfrm>
              <a:off x="-1190625" y="2663370"/>
              <a:ext cx="938624" cy="207062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B39C410-62CB-47C4-9306-3D3E5E6F984F}"/>
                </a:ext>
              </a:extLst>
            </p:cNvPr>
            <p:cNvSpPr txBox="1"/>
            <p:nvPr/>
          </p:nvSpPr>
          <p:spPr>
            <a:xfrm>
              <a:off x="9396974" y="494637"/>
              <a:ext cx="938624" cy="1242000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92354FB-B478-487D-9874-850A91D27338}"/>
                </a:ext>
              </a:extLst>
            </p:cNvPr>
            <p:cNvSpPr txBox="1"/>
            <p:nvPr/>
          </p:nvSpPr>
          <p:spPr>
            <a:xfrm>
              <a:off x="9396974" y="2663370"/>
              <a:ext cx="938624" cy="207062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805352B-C938-481B-B6FB-B8CEEE872DDF}"/>
                </a:ext>
              </a:extLst>
            </p:cNvPr>
            <p:cNvSpPr txBox="1"/>
            <p:nvPr/>
          </p:nvSpPr>
          <p:spPr>
            <a:xfrm>
              <a:off x="-1190625" y="2086948"/>
              <a:ext cx="938624" cy="473276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F543798-E691-450A-B5AE-D99B894D8799}"/>
                </a:ext>
              </a:extLst>
            </p:cNvPr>
            <p:cNvSpPr txBox="1"/>
            <p:nvPr/>
          </p:nvSpPr>
          <p:spPr>
            <a:xfrm>
              <a:off x="9396974" y="2086948"/>
              <a:ext cx="938624" cy="473276"/>
            </a:xfrm>
            <a:prstGeom prst="rect">
              <a:avLst/>
            </a:prstGeom>
          </p:spPr>
          <p:txBody>
            <a:bodyPr vert="horz" wrap="square" lIns="72000" tIns="36000" rIns="72000" bIns="3600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Subtitle area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BBCEE-637D-46E6-AA31-D40D892DE6A9}"/>
              </a:ext>
            </a:extLst>
          </p:cNvPr>
          <p:cNvSpPr/>
          <p:nvPr/>
        </p:nvSpPr>
        <p:spPr bwMode="white">
          <a:xfrm>
            <a:off x="250826" y="2"/>
            <a:ext cx="8642350" cy="679438"/>
          </a:xfrm>
          <a:prstGeom prst="rect">
            <a:avLst/>
          </a:prstGeom>
          <a:solidFill>
            <a:srgbClr val="FFFFFF"/>
          </a:solidFill>
          <a:ln w="25400">
            <a:noFill/>
          </a:ln>
        </p:spPr>
        <p:txBody>
          <a:bodyPr rot="0" spcFirstLastPara="0" vertOverflow="overflow" horzOverflow="overflow" vert="horz" wrap="square" lIns="108000" tIns="140400" rIns="108000" bIns="14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>
              <a:ln w="18000">
                <a:noFill/>
                <a:prstDash val="solid"/>
                <a:miter lim="800000"/>
              </a:ln>
              <a:effectLst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C97084-BD7B-4936-9268-B16722C55CF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EAF9C82-45E9-4465-979B-36BC83C80C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B60AC2-81D3-4B2D-9FD3-8F7859B4F25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ine 9">
            <a:extLst>
              <a:ext uri="{FF2B5EF4-FFF2-40B4-BE49-F238E27FC236}">
                <a16:creationId xmlns:a16="http://schemas.microsoft.com/office/drawing/2014/main" id="{2762A5FC-B3BB-49E3-9F18-451E39BC383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0348" y="1970236"/>
            <a:ext cx="324577" cy="0"/>
          </a:xfrm>
          <a:prstGeom prst="line">
            <a:avLst/>
          </a:prstGeom>
          <a:noFill/>
          <a:ln w="5715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rgbClr val="000000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4EEFFF4-FF33-4D03-B873-01E47E172EB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234827" y="147975"/>
            <a:ext cx="755494" cy="360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8D56C86-D2FB-43B7-8AE4-CA217CC5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80324" y="494637"/>
            <a:ext cx="4320000" cy="1242000"/>
          </a:xfrm>
        </p:spPr>
        <p:txBody>
          <a:bodyPr tIns="36000"/>
          <a:lstStyle>
            <a:lvl1pPr>
              <a:lnSpc>
                <a:spcPts val="3000"/>
              </a:lnSpc>
              <a:defRPr sz="3600" cap="all" baseline="0">
                <a:latin typeface="Arial Black" panose="020B0A04020102020204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C030FC4-BC45-4584-8AD4-3003DF8111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0346" y="2086948"/>
            <a:ext cx="2761191" cy="473276"/>
          </a:xfrm>
        </p:spPr>
        <p:txBody>
          <a:bodyPr tIns="10800">
            <a:no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GB"/>
              <a:t>Edit subtit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D69A3B9-D6C5-4992-9C82-F1893415BD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89288" y="2663372"/>
            <a:ext cx="5702300" cy="1872629"/>
          </a:xfrm>
        </p:spPr>
        <p:txBody>
          <a:bodyPr rIns="468000"/>
          <a:lstStyle>
            <a:lvl1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0"/>
            </a:lvl1pPr>
            <a:lvl2pPr marL="179996" indent="-1799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/>
            </a:lvl2pPr>
            <a:lvl3pPr marL="359991">
              <a:lnSpc>
                <a:spcPct val="100000"/>
              </a:lnSpc>
              <a:spcBef>
                <a:spcPts val="0"/>
              </a:spcBef>
              <a:defRPr sz="1000"/>
            </a:lvl3pPr>
            <a:lvl4pPr marL="539987">
              <a:lnSpc>
                <a:spcPct val="100000"/>
              </a:lnSpc>
              <a:spcBef>
                <a:spcPts val="0"/>
              </a:spcBef>
              <a:defRPr sz="1000"/>
            </a:lvl4pPr>
            <a:lvl5pPr marL="719982"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5690047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E8969ACD-E753-4BD7-9D2E-BD3B2CCD329F}"/>
              </a:ext>
            </a:extLst>
          </p:cNvPr>
          <p:cNvGrpSpPr/>
          <p:nvPr/>
        </p:nvGrpSpPr>
        <p:grpSpPr>
          <a:xfrm>
            <a:off x="-1190624" y="-6531"/>
            <a:ext cx="11526223" cy="5156470"/>
            <a:chOff x="-1190625" y="-6531"/>
            <a:chExt cx="11526223" cy="515647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5A007EFF-331E-4394-9F2F-DBE1D84CDFC0}"/>
                </a:ext>
              </a:extLst>
            </p:cNvPr>
            <p:cNvGrpSpPr/>
            <p:nvPr/>
          </p:nvGrpSpPr>
          <p:grpSpPr>
            <a:xfrm>
              <a:off x="-250463" y="4732986"/>
              <a:ext cx="9646463" cy="416953"/>
              <a:chOff x="-250463" y="-200"/>
              <a:chExt cx="9646463" cy="728519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69C73F09-73EA-4135-B108-981E3DC4F2A6}"/>
                  </a:ext>
                </a:extLst>
              </p:cNvPr>
              <p:cNvSpPr/>
              <p:nvPr/>
            </p:nvSpPr>
            <p:spPr>
              <a:xfrm>
                <a:off x="-250463" y="-200"/>
                <a:ext cx="180001" cy="72851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9FE507AD-6364-49FE-B5CA-6563EEABC9FE}"/>
                  </a:ext>
                </a:extLst>
              </p:cNvPr>
              <p:cNvSpPr/>
              <p:nvPr/>
            </p:nvSpPr>
            <p:spPr>
              <a:xfrm>
                <a:off x="9215999" y="-200"/>
                <a:ext cx="180001" cy="72851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6C45FD05-1143-44ED-84E1-4696C9661902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DBE13A96-9A29-4E03-8E8B-285D09D1CA74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64500277-9FBE-4253-8B21-CECDCB82EF82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4AC1607-9E75-4B05-88CB-3A2A8868CDF7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D77C286B-66D7-44FE-BCA5-45563F65B496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A98B3A63-FC2D-47B6-AB7F-1BEAAA404FCC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EDB9ECA4-9B95-4646-805F-4602F4C1B95F}"/>
                </a:ext>
              </a:extLst>
            </p:cNvPr>
            <p:cNvGrpSpPr/>
            <p:nvPr/>
          </p:nvGrpSpPr>
          <p:grpSpPr>
            <a:xfrm>
              <a:off x="-1190625" y="1386921"/>
              <a:ext cx="11526223" cy="3347078"/>
              <a:chOff x="-1190625" y="-1"/>
              <a:chExt cx="11526223" cy="717069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50655E5A-2F93-42DB-8BFB-31C27D439FE3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D09B70DE-5235-4D08-A1FF-A8ABBB46F9E1}"/>
                  </a:ext>
                </a:extLst>
              </p:cNvPr>
              <p:cNvSpPr/>
              <p:nvPr/>
            </p:nvSpPr>
            <p:spPr>
              <a:xfrm>
                <a:off x="9215999" y="-1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1FFD2F0-3E36-4912-BC62-C9D1EE38450A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BAF5846-B526-413F-B6CF-B0ED4F207866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F572E6C-9272-41E1-93EF-BB1F1AF10853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DE5157B-E48A-4B7B-9435-C8AB498B7C85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197662A-5F81-4291-B8C9-7BFAC86D358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1393200"/>
            <a:ext cx="8640000" cy="3340800"/>
          </a:xfrm>
        </p:spPr>
        <p:txBody>
          <a:bodyPr/>
          <a:lstStyle>
            <a:lvl1pPr marL="215995" indent="-215995">
              <a:buFont typeface="+mj-lt"/>
              <a:buAutoNum type="arabicPeriod"/>
              <a:defRPr b="1">
                <a:solidFill>
                  <a:schemeClr val="accent1"/>
                </a:solidFill>
              </a:defRPr>
            </a:lvl1pPr>
            <a:lvl2pPr marL="395990" indent="-179996">
              <a:buFont typeface="+mj-lt"/>
              <a:buAutoNum type="alphaUcPeriod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Bullet level 2</a:t>
            </a:r>
          </a:p>
          <a:p>
            <a:pPr lvl="2"/>
            <a:r>
              <a:rPr lang="en-GB"/>
              <a:t>Bullet level 3</a:t>
            </a:r>
          </a:p>
          <a:p>
            <a:pPr lvl="3"/>
            <a:r>
              <a:rPr lang="en-GB"/>
              <a:t>Bullet level 4</a:t>
            </a:r>
          </a:p>
          <a:p>
            <a:pPr lvl="4"/>
            <a:r>
              <a:rPr lang="en-GB"/>
              <a:t>Bullet level 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5DEA42-67F2-49B0-9C5F-779585F9EF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DE4509-CB25-4711-987E-02485912684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BCA600A-0D6D-4482-9DA9-D9687AA29E2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4AFC8-9818-446C-BD01-8C613E23F30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2763026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lobalMarkers">
            <a:extLst>
              <a:ext uri="{FF2B5EF4-FFF2-40B4-BE49-F238E27FC236}">
                <a16:creationId xmlns:a16="http://schemas.microsoft.com/office/drawing/2014/main" id="{122CB037-C947-438E-A672-B8A78BE6A4BD}"/>
              </a:ext>
            </a:extLst>
          </p:cNvPr>
          <p:cNvGrpSpPr/>
          <p:nvPr/>
        </p:nvGrpSpPr>
        <p:grpSpPr>
          <a:xfrm>
            <a:off x="4446000" y="-180000"/>
            <a:ext cx="252000" cy="5503500"/>
            <a:chOff x="0" y="-180000"/>
            <a:chExt cx="9145537" cy="5503500"/>
          </a:xfrm>
        </p:grpSpPr>
        <p:grpSp>
          <p:nvGrpSpPr>
            <p:cNvPr id="12" name="TopMarkers">
              <a:extLst>
                <a:ext uri="{FF2B5EF4-FFF2-40B4-BE49-F238E27FC236}">
                  <a16:creationId xmlns:a16="http://schemas.microsoft.com/office/drawing/2014/main" id="{A065CC88-D594-486B-BAF3-742D2717765A}"/>
                </a:ext>
              </a:extLst>
            </p:cNvPr>
            <p:cNvGrpSpPr/>
            <p:nvPr/>
          </p:nvGrpSpPr>
          <p:grpSpPr>
            <a:xfrm>
              <a:off x="0" y="-180000"/>
              <a:ext cx="9145537" cy="108000"/>
              <a:chOff x="0" y="-180000"/>
              <a:chExt cx="9145537" cy="108000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BE098ADD-D009-47E4-BC5B-E9B668C41A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0" y="-180000"/>
                <a:ext cx="0" cy="10800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7F89B417-904F-41D9-8FC0-57FDCE9F92F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145537" y="-180000"/>
                <a:ext cx="0" cy="10800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BottomMarkers">
              <a:extLst>
                <a:ext uri="{FF2B5EF4-FFF2-40B4-BE49-F238E27FC236}">
                  <a16:creationId xmlns:a16="http://schemas.microsoft.com/office/drawing/2014/main" id="{5C9CFC74-AB80-4864-8D07-042B3DC4FDA2}"/>
                </a:ext>
              </a:extLst>
            </p:cNvPr>
            <p:cNvGrpSpPr/>
            <p:nvPr/>
          </p:nvGrpSpPr>
          <p:grpSpPr>
            <a:xfrm flipV="1">
              <a:off x="0" y="5215500"/>
              <a:ext cx="9145537" cy="108000"/>
              <a:chOff x="0" y="-180000"/>
              <a:chExt cx="9145537" cy="108000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9B748791-6555-4E15-8F43-E06A884502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0" y="-180000"/>
                <a:ext cx="0" cy="10800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E34E31A2-4461-4137-9DA9-335CE618510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145537" y="-180000"/>
                <a:ext cx="0" cy="10800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A70BC4-5754-4530-8E5C-1BA4A84E4F1F}"/>
              </a:ext>
            </a:extLst>
          </p:cNvPr>
          <p:cNvGrpSpPr/>
          <p:nvPr/>
        </p:nvGrpSpPr>
        <p:grpSpPr>
          <a:xfrm>
            <a:off x="-1190624" y="-6531"/>
            <a:ext cx="11526223" cy="5158079"/>
            <a:chOff x="-1190625" y="-6531"/>
            <a:chExt cx="11526223" cy="515807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4697C8E-DF32-446C-B959-219C0008D42B}"/>
                </a:ext>
              </a:extLst>
            </p:cNvPr>
            <p:cNvGrpSpPr/>
            <p:nvPr/>
          </p:nvGrpSpPr>
          <p:grpSpPr>
            <a:xfrm>
              <a:off x="-250463" y="4733099"/>
              <a:ext cx="9646463" cy="418449"/>
              <a:chOff x="-250463" y="-3"/>
              <a:chExt cx="9646463" cy="731133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FDA8174E-25DB-423A-9626-498901776098}"/>
                  </a:ext>
                </a:extLst>
              </p:cNvPr>
              <p:cNvSpPr/>
              <p:nvPr/>
            </p:nvSpPr>
            <p:spPr>
              <a:xfrm>
                <a:off x="-250463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7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24C80965-1CC7-44FD-8E39-A9AB3977B3AE}"/>
                  </a:ext>
                </a:extLst>
              </p:cNvPr>
              <p:cNvSpPr/>
              <p:nvPr/>
            </p:nvSpPr>
            <p:spPr>
              <a:xfrm>
                <a:off x="9215999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7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EF503E2-9BB9-4462-A41B-26E11AF86AAF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59A6522B-962E-4AA5-97C0-B320F579A43E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7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D5C13B4-65D5-4F8E-AC08-A016FC3DB906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7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596B9D3-7291-46AE-960C-EEAC204B3620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039442C-4F07-4CDF-9D10-1B30CA19232A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7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A9FF8ECF-11F2-4D1D-B06A-B4450D7FE964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US" sz="1867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7CB72F8-BB5C-441F-AE87-69C413F57E27}"/>
                </a:ext>
              </a:extLst>
            </p:cNvPr>
            <p:cNvGrpSpPr/>
            <p:nvPr/>
          </p:nvGrpSpPr>
          <p:grpSpPr>
            <a:xfrm>
              <a:off x="-1190625" y="1379775"/>
              <a:ext cx="11526223" cy="3347078"/>
              <a:chOff x="-1190625" y="-1532"/>
              <a:chExt cx="11526223" cy="717069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024D571-3B4E-4C53-9F95-C2D339E5309B}"/>
                  </a:ext>
                </a:extLst>
              </p:cNvPr>
              <p:cNvSpPr/>
              <p:nvPr/>
            </p:nvSpPr>
            <p:spPr>
              <a:xfrm>
                <a:off x="-1190625" y="-1532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7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1346519-4B1A-4477-BA34-C68B47FB4BBE}"/>
                  </a:ext>
                </a:extLst>
              </p:cNvPr>
              <p:cNvSpPr/>
              <p:nvPr/>
            </p:nvSpPr>
            <p:spPr>
              <a:xfrm>
                <a:off x="9215999" y="-1532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7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2C30691-CB61-48CE-B291-CEF463FE4E7F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879EA83-196A-42BB-8A7A-D35CEDC30714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7012674-C103-40F1-91EB-00A5444683CE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C6A13A4-C95B-49FD-9409-CE301746A6F9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BC7FAB-C9F2-449E-AFDD-87C4E3965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000" y="1393200"/>
            <a:ext cx="4176000" cy="33408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30CC5F-A86B-41E5-BF68-33C4C7136D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16000" y="1393200"/>
            <a:ext cx="4176000" cy="33408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5515078-123C-4476-86C4-BB396CDB08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5BF09C-CF7E-47E1-8E2B-579A91242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67AD27-1E65-4111-929F-2D284ED57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433263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0E4AB106-C3C4-43CF-A138-3C3B388813F4}"/>
              </a:ext>
            </a:extLst>
          </p:cNvPr>
          <p:cNvGrpSpPr/>
          <p:nvPr/>
        </p:nvGrpSpPr>
        <p:grpSpPr>
          <a:xfrm>
            <a:off x="-1190624" y="-6531"/>
            <a:ext cx="11526223" cy="5158079"/>
            <a:chOff x="-1190625" y="-6531"/>
            <a:chExt cx="11526223" cy="5158079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6752F55-7B18-483F-9874-D2FA8F9A28D2}"/>
                </a:ext>
              </a:extLst>
            </p:cNvPr>
            <p:cNvGrpSpPr/>
            <p:nvPr/>
          </p:nvGrpSpPr>
          <p:grpSpPr>
            <a:xfrm>
              <a:off x="-250463" y="4733099"/>
              <a:ext cx="9646463" cy="418449"/>
              <a:chOff x="-250463" y="-3"/>
              <a:chExt cx="9646463" cy="731133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29A3A924-53B2-48C1-AFC8-412D6EE54CDB}"/>
                  </a:ext>
                </a:extLst>
              </p:cNvPr>
              <p:cNvSpPr/>
              <p:nvPr/>
            </p:nvSpPr>
            <p:spPr>
              <a:xfrm>
                <a:off x="-250463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FA2746C-0F95-423E-9957-297B040E209D}"/>
                  </a:ext>
                </a:extLst>
              </p:cNvPr>
              <p:cNvSpPr/>
              <p:nvPr/>
            </p:nvSpPr>
            <p:spPr>
              <a:xfrm>
                <a:off x="9215999" y="-3"/>
                <a:ext cx="180001" cy="731133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157C0A8-1F45-41E0-B1E2-BB70DCBA30DA}"/>
                </a:ext>
              </a:extLst>
            </p:cNvPr>
            <p:cNvGrpSpPr/>
            <p:nvPr/>
          </p:nvGrpSpPr>
          <p:grpSpPr>
            <a:xfrm>
              <a:off x="-250463" y="-6531"/>
              <a:ext cx="9646463" cy="680400"/>
              <a:chOff x="-250463" y="-6884"/>
              <a:chExt cx="9646463" cy="717069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A4A1E408-E583-46A5-82D7-A59C44864EBE}"/>
                  </a:ext>
                </a:extLst>
              </p:cNvPr>
              <p:cNvSpPr/>
              <p:nvPr/>
            </p:nvSpPr>
            <p:spPr>
              <a:xfrm>
                <a:off x="-250463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DB3E134-6121-489D-A528-8B89DFD7F186}"/>
                  </a:ext>
                </a:extLst>
              </p:cNvPr>
              <p:cNvSpPr/>
              <p:nvPr/>
            </p:nvSpPr>
            <p:spPr>
              <a:xfrm>
                <a:off x="9215999" y="-6884"/>
                <a:ext cx="180001" cy="717069"/>
              </a:xfrm>
              <a:prstGeom prst="rect">
                <a:avLst/>
              </a:prstGeom>
              <a:solidFill>
                <a:srgbClr val="B400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8E969C6-F229-439A-A15D-E8790A09DD1F}"/>
                </a:ext>
              </a:extLst>
            </p:cNvPr>
            <p:cNvGrpSpPr/>
            <p:nvPr/>
          </p:nvGrpSpPr>
          <p:grpSpPr>
            <a:xfrm>
              <a:off x="-1190625" y="676797"/>
              <a:ext cx="11526223" cy="504113"/>
              <a:chOff x="-1190625" y="-1"/>
              <a:chExt cx="11526223" cy="717069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961C5FC-0000-4F48-98E4-C33B5D5D4DBC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38119CD-2D5A-4D92-B4B3-7E2685823D73}"/>
                  </a:ext>
                </a:extLst>
              </p:cNvPr>
              <p:cNvSpPr/>
              <p:nvPr/>
            </p:nvSpPr>
            <p:spPr>
              <a:xfrm>
                <a:off x="9215998" y="-1"/>
                <a:ext cx="1119600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None/>
                </a:pPr>
                <a:endParaRPr lang="en-GB" sz="1867" noProof="0"/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9317686B-AF59-4B20-B64F-43186A73DFC0}"/>
                </a:ext>
              </a:extLst>
            </p:cNvPr>
            <p:cNvGrpSpPr/>
            <p:nvPr/>
          </p:nvGrpSpPr>
          <p:grpSpPr>
            <a:xfrm>
              <a:off x="-1190625" y="1386921"/>
              <a:ext cx="11526223" cy="3347078"/>
              <a:chOff x="-1190625" y="-1"/>
              <a:chExt cx="11526223" cy="71706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7CB041-0D70-41C0-9C36-B07DB5C8DAD6}"/>
                  </a:ext>
                </a:extLst>
              </p:cNvPr>
              <p:cNvSpPr/>
              <p:nvPr/>
            </p:nvSpPr>
            <p:spPr>
              <a:xfrm>
                <a:off x="-1190625" y="-1"/>
                <a:ext cx="1120163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282951-0E8D-4E81-A159-5F38719FAAD1}"/>
                  </a:ext>
                </a:extLst>
              </p:cNvPr>
              <p:cNvSpPr/>
              <p:nvPr/>
            </p:nvSpPr>
            <p:spPr>
              <a:xfrm>
                <a:off x="9215999" y="-1"/>
                <a:ext cx="1119599" cy="717069"/>
              </a:xfrm>
              <a:prstGeom prst="rect">
                <a:avLst/>
              </a:prstGeom>
              <a:solidFill>
                <a:srgbClr val="0091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noProof="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4211BD5-81EA-4C12-BCB7-1DFBF8C5601E}"/>
                </a:ext>
              </a:extLst>
            </p:cNvPr>
            <p:cNvSpPr txBox="1"/>
            <p:nvPr/>
          </p:nvSpPr>
          <p:spPr>
            <a:xfrm>
              <a:off x="-1190625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4298D1-66C8-44F8-8FB4-E5528365755E}"/>
                </a:ext>
              </a:extLst>
            </p:cNvPr>
            <p:cNvSpPr txBox="1"/>
            <p:nvPr/>
          </p:nvSpPr>
          <p:spPr>
            <a:xfrm>
              <a:off x="-1190625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E5E9A94-0793-4680-AA0D-59D1CB4F929B}"/>
                </a:ext>
              </a:extLst>
            </p:cNvPr>
            <p:cNvSpPr txBox="1"/>
            <p:nvPr/>
          </p:nvSpPr>
          <p:spPr>
            <a:xfrm>
              <a:off x="9396974" y="676797"/>
              <a:ext cx="938624" cy="50411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Title are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AB7E47D-34B0-47B4-8A2B-96F09F7120B7}"/>
                </a:ext>
              </a:extLst>
            </p:cNvPr>
            <p:cNvSpPr txBox="1"/>
            <p:nvPr/>
          </p:nvSpPr>
          <p:spPr>
            <a:xfrm>
              <a:off x="9396974" y="1386921"/>
              <a:ext cx="938624" cy="3347077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noAutofit/>
            </a:bodyPr>
            <a:lstStyle/>
            <a:p>
              <a:pPr marL="0" indent="0" algn="l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GB" sz="900" noProof="0">
                  <a:solidFill>
                    <a:schemeClr val="bg1"/>
                  </a:solidFill>
                </a:rPr>
                <a:t>Content area</a:t>
              </a: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23646-A138-496E-B325-874D99E4C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000" y="1393200"/>
            <a:ext cx="2759488" cy="33408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30CC5F-A86B-41E5-BF68-33C4C7136D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92257" y="1393200"/>
            <a:ext cx="2759488" cy="33408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D013FD1F-5457-4D5E-B930-E8CDE65EA99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32513" y="1393200"/>
            <a:ext cx="2759488" cy="3340800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84937EC-6303-4C6E-8FBA-D267EFA350F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|  20 May 2022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5F2E940-0E99-40DB-A567-F442180D52F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FF57B31-6202-4F15-A6E7-AC9A5B0F4C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417016-8BB4-4FC0-A6CA-EC22B351A0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88081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21.sv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image" Target="../media/image1.emf"/><Relationship Id="rId30" Type="http://schemas.openxmlformats.org/officeDocument/2006/relationships/image" Target="../media/image2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B2DC9-0344-A5B6-31AE-464D03578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727496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500" imgH="501" progId="TCLayout.ActiveDocument.1">
                  <p:embed/>
                </p:oleObj>
              </mc:Choice>
              <mc:Fallback>
                <p:oleObj name="think-cell Slide" r:id="rId28" imgW="500" imgH="50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B2DC9-0344-A5B6-31AE-464D03578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lobalMarkers">
            <a:extLst>
              <a:ext uri="{FF2B5EF4-FFF2-40B4-BE49-F238E27FC236}">
                <a16:creationId xmlns:a16="http://schemas.microsoft.com/office/drawing/2014/main" id="{BC8EC50B-B1F2-4B02-9E6A-1AE0E3B1D8C1}"/>
              </a:ext>
            </a:extLst>
          </p:cNvPr>
          <p:cNvGrpSpPr/>
          <p:nvPr/>
        </p:nvGrpSpPr>
        <p:grpSpPr>
          <a:xfrm>
            <a:off x="-179999" y="-180000"/>
            <a:ext cx="9505537" cy="5503500"/>
            <a:chOff x="-180000" y="-180000"/>
            <a:chExt cx="9505537" cy="5503500"/>
          </a:xfrm>
        </p:grpSpPr>
        <p:grpSp>
          <p:nvGrpSpPr>
            <p:cNvPr id="12" name="TopMarkers">
              <a:extLst>
                <a:ext uri="{FF2B5EF4-FFF2-40B4-BE49-F238E27FC236}">
                  <a16:creationId xmlns:a16="http://schemas.microsoft.com/office/drawing/2014/main" id="{B5C00DFC-FB2D-4736-8216-12F3143FEF37}"/>
                </a:ext>
              </a:extLst>
            </p:cNvPr>
            <p:cNvGrpSpPr/>
            <p:nvPr/>
          </p:nvGrpSpPr>
          <p:grpSpPr>
            <a:xfrm>
              <a:off x="-180000" y="-180000"/>
              <a:ext cx="9505537" cy="180000"/>
              <a:chOff x="-180000" y="-180000"/>
              <a:chExt cx="9505537" cy="180000"/>
            </a:xfrm>
          </p:grpSpPr>
          <p:grpSp>
            <p:nvGrpSpPr>
              <p:cNvPr id="28" name="Marker">
                <a:extLst>
                  <a:ext uri="{FF2B5EF4-FFF2-40B4-BE49-F238E27FC236}">
                    <a16:creationId xmlns:a16="http://schemas.microsoft.com/office/drawing/2014/main" id="{B87D2395-C6A0-4012-91D2-3FF10E39DF7B}"/>
                  </a:ext>
                </a:extLst>
              </p:cNvPr>
              <p:cNvGrpSpPr/>
              <p:nvPr/>
            </p:nvGrpSpPr>
            <p:grpSpPr>
              <a:xfrm>
                <a:off x="-180000" y="-180000"/>
                <a:ext cx="180000" cy="180000"/>
                <a:chOff x="3489960" y="-350520"/>
                <a:chExt cx="180000" cy="1800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D718E689-B189-4C14-B08F-6C60FDADDA42}"/>
                    </a:ext>
                  </a:extLst>
                </p:cNvPr>
                <p:cNvSpPr/>
                <p:nvPr/>
              </p:nvSpPr>
              <p:spPr>
                <a:xfrm>
                  <a:off x="3489960" y="-350520"/>
                  <a:ext cx="180000" cy="180000"/>
                </a:xfrm>
                <a:prstGeom prst="rect">
                  <a:avLst/>
                </a:prstGeom>
                <a:solidFill>
                  <a:schemeClr val="accent1"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67"/>
                </a:p>
              </p:txBody>
            </p: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474EA5CC-42C2-4E63-A3DC-1857FBBF6D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89960" y="-170520"/>
                  <a:ext cx="108000" cy="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7AADFE0-5C50-4403-ABFD-285AE64CDD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69960" y="-350520"/>
                  <a:ext cx="0" cy="10800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" name="Marker">
                <a:extLst>
                  <a:ext uri="{FF2B5EF4-FFF2-40B4-BE49-F238E27FC236}">
                    <a16:creationId xmlns:a16="http://schemas.microsoft.com/office/drawing/2014/main" id="{549A9714-32F9-4555-AC1D-527ADD771A21}"/>
                  </a:ext>
                </a:extLst>
              </p:cNvPr>
              <p:cNvGrpSpPr/>
              <p:nvPr/>
            </p:nvGrpSpPr>
            <p:grpSpPr>
              <a:xfrm flipH="1">
                <a:off x="9145537" y="-180000"/>
                <a:ext cx="180000" cy="180000"/>
                <a:chOff x="3489960" y="-350520"/>
                <a:chExt cx="180000" cy="180000"/>
              </a:xfrm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D55B19D5-D168-4857-8922-369BE2D221E1}"/>
                    </a:ext>
                  </a:extLst>
                </p:cNvPr>
                <p:cNvSpPr/>
                <p:nvPr/>
              </p:nvSpPr>
              <p:spPr>
                <a:xfrm>
                  <a:off x="3489960" y="-350520"/>
                  <a:ext cx="180000" cy="180000"/>
                </a:xfrm>
                <a:prstGeom prst="rect">
                  <a:avLst/>
                </a:prstGeom>
                <a:solidFill>
                  <a:schemeClr val="accent1"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67"/>
                </a:p>
              </p:txBody>
            </p: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1788B98B-27B0-4864-982C-35D6D4A1B7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89960" y="-170520"/>
                  <a:ext cx="108000" cy="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C5B10015-AF75-4D79-A838-CB4D3DC27B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69960" y="-350520"/>
                  <a:ext cx="0" cy="10800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3" name="BottomMarkers">
              <a:extLst>
                <a:ext uri="{FF2B5EF4-FFF2-40B4-BE49-F238E27FC236}">
                  <a16:creationId xmlns:a16="http://schemas.microsoft.com/office/drawing/2014/main" id="{BF3488A9-1FE0-4D9E-991C-7C18361BBD33}"/>
                </a:ext>
              </a:extLst>
            </p:cNvPr>
            <p:cNvGrpSpPr/>
            <p:nvPr/>
          </p:nvGrpSpPr>
          <p:grpSpPr>
            <a:xfrm flipV="1">
              <a:off x="-180000" y="5143500"/>
              <a:ext cx="9505537" cy="180000"/>
              <a:chOff x="-180000" y="-180000"/>
              <a:chExt cx="9505537" cy="180000"/>
            </a:xfrm>
          </p:grpSpPr>
          <p:grpSp>
            <p:nvGrpSpPr>
              <p:cNvPr id="14" name="Marker">
                <a:extLst>
                  <a:ext uri="{FF2B5EF4-FFF2-40B4-BE49-F238E27FC236}">
                    <a16:creationId xmlns:a16="http://schemas.microsoft.com/office/drawing/2014/main" id="{004A42CB-470A-4996-8578-84D706A80AC2}"/>
                  </a:ext>
                </a:extLst>
              </p:cNvPr>
              <p:cNvGrpSpPr/>
              <p:nvPr/>
            </p:nvGrpSpPr>
            <p:grpSpPr>
              <a:xfrm>
                <a:off x="-180000" y="-180000"/>
                <a:ext cx="180000" cy="180000"/>
                <a:chOff x="3489960" y="-350520"/>
                <a:chExt cx="180000" cy="180000"/>
              </a:xfrm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FA524EE3-EE80-43B0-8374-B6868BFD5B59}"/>
                    </a:ext>
                  </a:extLst>
                </p:cNvPr>
                <p:cNvSpPr/>
                <p:nvPr/>
              </p:nvSpPr>
              <p:spPr>
                <a:xfrm>
                  <a:off x="3489960" y="-350520"/>
                  <a:ext cx="180000" cy="180000"/>
                </a:xfrm>
                <a:prstGeom prst="rect">
                  <a:avLst/>
                </a:prstGeom>
                <a:solidFill>
                  <a:schemeClr val="accent1"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67"/>
                </a:p>
              </p:txBody>
            </p: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BD1AC8E3-23AF-4446-B191-501534B76F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89960" y="-170520"/>
                  <a:ext cx="108000" cy="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8B9CCE54-5276-4789-953A-F2158EFF24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69960" y="-350520"/>
                  <a:ext cx="0" cy="10800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Marker">
                <a:extLst>
                  <a:ext uri="{FF2B5EF4-FFF2-40B4-BE49-F238E27FC236}">
                    <a16:creationId xmlns:a16="http://schemas.microsoft.com/office/drawing/2014/main" id="{7ECE77C4-026B-4DF8-879C-7606B862AA29}"/>
                  </a:ext>
                </a:extLst>
              </p:cNvPr>
              <p:cNvGrpSpPr/>
              <p:nvPr/>
            </p:nvGrpSpPr>
            <p:grpSpPr>
              <a:xfrm flipH="1">
                <a:off x="9145537" y="-180000"/>
                <a:ext cx="180000" cy="180000"/>
                <a:chOff x="3489960" y="-350520"/>
                <a:chExt cx="180000" cy="180000"/>
              </a:xfrm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EF2C785B-47D2-4A57-9998-17E9E4DBEE83}"/>
                    </a:ext>
                  </a:extLst>
                </p:cNvPr>
                <p:cNvSpPr/>
                <p:nvPr/>
              </p:nvSpPr>
              <p:spPr>
                <a:xfrm>
                  <a:off x="3489960" y="-350520"/>
                  <a:ext cx="180000" cy="180000"/>
                </a:xfrm>
                <a:prstGeom prst="rect">
                  <a:avLst/>
                </a:prstGeom>
                <a:solidFill>
                  <a:schemeClr val="accent1"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67"/>
                </a:p>
              </p:txBody>
            </p: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8B208B8F-8B79-4656-953A-7E3D6E1D6B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89960" y="-170520"/>
                  <a:ext cx="108000" cy="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9963152E-4009-4040-9129-379814402CD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69960" y="-350520"/>
                  <a:ext cx="0" cy="10800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5EEDAE-8007-4C94-BB06-F287D6843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</a:t>
            </a:r>
            <a:br>
              <a:rPr lang="en-GB"/>
            </a:br>
            <a:r>
              <a:rPr lang="en-GB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602EAD-ECA1-453B-9688-FC87A01B93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000" y="1393200"/>
            <a:ext cx="8640000" cy="3339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Bullet level 2</a:t>
            </a:r>
          </a:p>
          <a:p>
            <a:pPr lvl="2"/>
            <a:r>
              <a:rPr lang="en-GB"/>
              <a:t>Bullet level 3</a:t>
            </a:r>
          </a:p>
          <a:p>
            <a:pPr lvl="3"/>
            <a:r>
              <a:rPr lang="en-GB"/>
              <a:t>Bullet level 4</a:t>
            </a:r>
          </a:p>
          <a:p>
            <a:pPr lvl="4"/>
            <a:r>
              <a:rPr lang="en-GB"/>
              <a:t>Bullet 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1D227B47-8310-4AD7-AA57-C06FCE9DA3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7" y="4820400"/>
            <a:ext cx="3600000" cy="9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DA4F6929-9194-4FB9-9E55-8DDFBBFA52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1588" y="4816800"/>
            <a:ext cx="180000" cy="9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8B9A53-5174-4B9C-A734-F9602306FD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40000" y="4816801"/>
            <a:ext cx="1080000" cy="964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|  20 May 2022</a:t>
            </a:r>
            <a:endParaRPr lang="en-GB"/>
          </a:p>
        </p:txBody>
      </p:sp>
      <p:grpSp>
        <p:nvGrpSpPr>
          <p:cNvPr id="62" name="ContentMarks">
            <a:extLst>
              <a:ext uri="{FF2B5EF4-FFF2-40B4-BE49-F238E27FC236}">
                <a16:creationId xmlns:a16="http://schemas.microsoft.com/office/drawing/2014/main" id="{D5977A6F-D42B-4247-B6E2-A00F827B5990}"/>
              </a:ext>
            </a:extLst>
          </p:cNvPr>
          <p:cNvGrpSpPr/>
          <p:nvPr/>
        </p:nvGrpSpPr>
        <p:grpSpPr>
          <a:xfrm>
            <a:off x="-179999" y="250825"/>
            <a:ext cx="9505537" cy="4641851"/>
            <a:chOff x="-180000" y="250824"/>
            <a:chExt cx="9505537" cy="4641851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45B1A3A6-504B-4BE9-9FE8-D4AC40417E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-180000" y="4892675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5198A1B-353B-445D-A309-ADD346C4479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17537" y="4892675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2B4BEBE-3953-4657-9163-0F4C538B10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-180000" y="47340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30E9F461-EC32-4288-AB1D-BE57A337E1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17537" y="47340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1E41FC67-DD7E-4C96-BE9D-77EE22775AC7}"/>
                </a:ext>
              </a:extLst>
            </p:cNvPr>
            <p:cNvCxnSpPr>
              <a:cxnSpLocks/>
            </p:cNvCxnSpPr>
            <p:nvPr/>
          </p:nvCxnSpPr>
          <p:spPr>
            <a:xfrm>
              <a:off x="-180000" y="250824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551CD23C-9864-4486-B6FA-44D1E75DCE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17537" y="250824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27290A09-544C-41ED-BAB1-D612C5265992}"/>
                </a:ext>
              </a:extLst>
            </p:cNvPr>
            <p:cNvCxnSpPr>
              <a:cxnSpLocks/>
            </p:cNvCxnSpPr>
            <p:nvPr/>
          </p:nvCxnSpPr>
          <p:spPr>
            <a:xfrm>
              <a:off x="-180000" y="6804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808C043-53DE-4B65-A786-DCF3758B8A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17537" y="6804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A984A157-F265-4132-B74E-0E514A18CFF1}"/>
                </a:ext>
              </a:extLst>
            </p:cNvPr>
            <p:cNvCxnSpPr>
              <a:cxnSpLocks/>
            </p:cNvCxnSpPr>
            <p:nvPr/>
          </p:nvCxnSpPr>
          <p:spPr>
            <a:xfrm>
              <a:off x="-180000" y="1115863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CB27575-E209-4637-9ED8-6A7BB56A39B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17537" y="1115863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24155F8-C541-4AE3-9C3B-4F3FA5DD36E7}"/>
                </a:ext>
              </a:extLst>
            </p:cNvPr>
            <p:cNvCxnSpPr>
              <a:cxnSpLocks/>
            </p:cNvCxnSpPr>
            <p:nvPr/>
          </p:nvCxnSpPr>
          <p:spPr>
            <a:xfrm>
              <a:off x="-180000" y="1386921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D7653FA5-6483-4206-98F9-A2500B7D8EE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17537" y="1386921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5" name="!!Logo_SES">
            <a:extLst>
              <a:ext uri="{FF2B5EF4-FFF2-40B4-BE49-F238E27FC236}">
                <a16:creationId xmlns:a16="http://schemas.microsoft.com/office/drawing/2014/main" id="{F376996B-B5F9-447E-B38B-75B902C624FD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 bwMode="black">
          <a:xfrm>
            <a:off x="239309" y="168514"/>
            <a:ext cx="604396" cy="28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CDE7C259-CAF3-4DE4-B3E3-5B1F8903DA18}"/>
              </a:ext>
            </a:extLst>
          </p:cNvPr>
          <p:cNvGrpSpPr/>
          <p:nvPr/>
        </p:nvGrpSpPr>
        <p:grpSpPr>
          <a:xfrm>
            <a:off x="4482000" y="-180000"/>
            <a:ext cx="180000" cy="5503500"/>
            <a:chOff x="1153474" y="553473"/>
            <a:chExt cx="180000" cy="5503500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DE8CA177-3C59-446C-A1A0-83872CBCCB3C}"/>
                </a:ext>
              </a:extLst>
            </p:cNvPr>
            <p:cNvSpPr/>
            <p:nvPr/>
          </p:nvSpPr>
          <p:spPr>
            <a:xfrm>
              <a:off x="1153474" y="553473"/>
              <a:ext cx="180000" cy="18000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7"/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C486DB47-94A2-41B2-9204-C91D7AA5E47E}"/>
                </a:ext>
              </a:extLst>
            </p:cNvPr>
            <p:cNvCxnSpPr>
              <a:cxnSpLocks/>
            </p:cNvCxnSpPr>
            <p:nvPr/>
          </p:nvCxnSpPr>
          <p:spPr>
            <a:xfrm>
              <a:off x="1243474" y="553473"/>
              <a:ext cx="0" cy="108000"/>
            </a:xfrm>
            <a:prstGeom prst="line">
              <a:avLst/>
            </a:prstGeom>
            <a:ln>
              <a:solidFill>
                <a:srgbClr val="AEB8C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4B622D97-1452-44A4-AE7D-E39CB0C65089}"/>
                </a:ext>
              </a:extLst>
            </p:cNvPr>
            <p:cNvSpPr/>
            <p:nvPr/>
          </p:nvSpPr>
          <p:spPr>
            <a:xfrm flipV="1">
              <a:off x="1153474" y="5876973"/>
              <a:ext cx="180000" cy="18000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7"/>
            </a:p>
          </p:txBody>
        </p: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568A0B63-EA8C-4EF3-9C3E-92D103B7A0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43474" y="5948973"/>
              <a:ext cx="0" cy="108000"/>
            </a:xfrm>
            <a:prstGeom prst="line">
              <a:avLst/>
            </a:prstGeom>
            <a:ln>
              <a:solidFill>
                <a:srgbClr val="AEB8C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7696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738" r:id="rId2"/>
    <p:sldLayoutId id="2147483826" r:id="rId3"/>
    <p:sldLayoutId id="2147483729" r:id="rId4"/>
    <p:sldLayoutId id="2147483653" r:id="rId5"/>
    <p:sldLayoutId id="2147483742" r:id="rId6"/>
    <p:sldLayoutId id="2147483682" r:id="rId7"/>
    <p:sldLayoutId id="2147483667" r:id="rId8"/>
    <p:sldLayoutId id="2147483668" r:id="rId9"/>
    <p:sldLayoutId id="2147483815" r:id="rId10"/>
    <p:sldLayoutId id="2147483816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85" r:id="rId18"/>
    <p:sldLayoutId id="2147483684" r:id="rId19"/>
    <p:sldLayoutId id="2147483671" r:id="rId20"/>
    <p:sldLayoutId id="2147483700" r:id="rId21"/>
    <p:sldLayoutId id="2147483827" r:id="rId22"/>
    <p:sldLayoutId id="2147483669" r:id="rId23"/>
    <p:sldLayoutId id="2147483670" r:id="rId24"/>
    <p:sldLayoutId id="2147483683" r:id="rId25"/>
  </p:sldLayoutIdLst>
  <p:transition spd="med">
    <p:fade/>
  </p:transition>
  <p:hf hdr="0" dt="0"/>
  <p:txStyles>
    <p:titleStyle>
      <a:lvl1pPr algn="l" defTabSz="685783" rtl="0" eaLnBrk="1" latinLnBrk="0" hangingPunct="1">
        <a:lnSpc>
          <a:spcPct val="91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995" indent="-215995" algn="l" defTabSz="685783" rtl="0" eaLnBrk="1" latinLnBrk="0" hangingPunct="1">
        <a:lnSpc>
          <a:spcPct val="103000"/>
        </a:lnSpc>
        <a:spcBef>
          <a:spcPts val="600"/>
        </a:spcBef>
        <a:spcAft>
          <a:spcPts val="200"/>
        </a:spcAft>
        <a:buFont typeface="Wingdings 3" panose="05040102010807070707" pitchFamily="18" charset="2"/>
        <a:buChar char="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5990" indent="-179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57986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3050404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3050404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81978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3050404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974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205970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367966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529962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D6D6D6"/>
          </p15:clr>
        </p15:guide>
        <p15:guide id="2" pos="5760">
          <p15:clr>
            <a:srgbClr val="D6D6D6"/>
          </p15:clr>
        </p15:guide>
        <p15:guide id="3" pos="158">
          <p15:clr>
            <a:srgbClr val="D6D6D6"/>
          </p15:clr>
        </p15:guide>
        <p15:guide id="4" pos="1897">
          <p15:clr>
            <a:srgbClr val="D6D6D6"/>
          </p15:clr>
        </p15:guide>
        <p15:guide id="5" pos="2010">
          <p15:clr>
            <a:srgbClr val="D6D6D6"/>
          </p15:clr>
        </p15:guide>
        <p15:guide id="6" pos="3749">
          <p15:clr>
            <a:srgbClr val="D6D6D6"/>
          </p15:clr>
        </p15:guide>
        <p15:guide id="7" pos="3862">
          <p15:clr>
            <a:srgbClr val="D6D6D6"/>
          </p15:clr>
        </p15:guide>
        <p15:guide id="8" pos="5601">
          <p15:clr>
            <a:srgbClr val="D6D6D6"/>
          </p15:clr>
        </p15:guide>
        <p15:guide id="9" orient="horz">
          <p15:clr>
            <a:srgbClr val="D6D6D6"/>
          </p15:clr>
        </p15:guide>
        <p15:guide id="10" orient="horz" pos="3240">
          <p15:clr>
            <a:srgbClr val="D6D6D6"/>
          </p15:clr>
        </p15:guide>
        <p15:guide id="11" orient="horz" pos="158">
          <p15:clr>
            <a:srgbClr val="D6D6D6"/>
          </p15:clr>
        </p15:guide>
        <p15:guide id="12" orient="horz" pos="3081">
          <p15:clr>
            <a:srgbClr val="D6D6D6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37D7B0C-E4BE-B7E9-1CD1-3FBF33C0A4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60260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500" imgH="501" progId="TCLayout.ActiveDocument.1">
                  <p:embed/>
                </p:oleObj>
              </mc:Choice>
              <mc:Fallback>
                <p:oleObj name="think-cell Slide" r:id="rId26" imgW="500" imgH="50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7D7B0C-E4BE-B7E9-1CD1-3FBF33C0A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lobalMarkers">
            <a:extLst>
              <a:ext uri="{FF2B5EF4-FFF2-40B4-BE49-F238E27FC236}">
                <a16:creationId xmlns:a16="http://schemas.microsoft.com/office/drawing/2014/main" id="{BC8EC50B-B1F2-4B02-9E6A-1AE0E3B1D8C1}"/>
              </a:ext>
            </a:extLst>
          </p:cNvPr>
          <p:cNvGrpSpPr/>
          <p:nvPr/>
        </p:nvGrpSpPr>
        <p:grpSpPr>
          <a:xfrm>
            <a:off x="-179999" y="-180000"/>
            <a:ext cx="9505537" cy="5503500"/>
            <a:chOff x="-180000" y="-180000"/>
            <a:chExt cx="9505537" cy="5503500"/>
          </a:xfrm>
        </p:grpSpPr>
        <p:grpSp>
          <p:nvGrpSpPr>
            <p:cNvPr id="12" name="TopMarkers">
              <a:extLst>
                <a:ext uri="{FF2B5EF4-FFF2-40B4-BE49-F238E27FC236}">
                  <a16:creationId xmlns:a16="http://schemas.microsoft.com/office/drawing/2014/main" id="{B5C00DFC-FB2D-4736-8216-12F3143FEF37}"/>
                </a:ext>
              </a:extLst>
            </p:cNvPr>
            <p:cNvGrpSpPr/>
            <p:nvPr/>
          </p:nvGrpSpPr>
          <p:grpSpPr>
            <a:xfrm>
              <a:off x="-180000" y="-180000"/>
              <a:ext cx="9505537" cy="180000"/>
              <a:chOff x="-180000" y="-180000"/>
              <a:chExt cx="9505537" cy="180000"/>
            </a:xfrm>
          </p:grpSpPr>
          <p:grpSp>
            <p:nvGrpSpPr>
              <p:cNvPr id="28" name="Marker">
                <a:extLst>
                  <a:ext uri="{FF2B5EF4-FFF2-40B4-BE49-F238E27FC236}">
                    <a16:creationId xmlns:a16="http://schemas.microsoft.com/office/drawing/2014/main" id="{B87D2395-C6A0-4012-91D2-3FF10E39DF7B}"/>
                  </a:ext>
                </a:extLst>
              </p:cNvPr>
              <p:cNvGrpSpPr/>
              <p:nvPr/>
            </p:nvGrpSpPr>
            <p:grpSpPr>
              <a:xfrm>
                <a:off x="-180000" y="-180000"/>
                <a:ext cx="180000" cy="180000"/>
                <a:chOff x="3489960" y="-350520"/>
                <a:chExt cx="180000" cy="1800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D718E689-B189-4C14-B08F-6C60FDADDA42}"/>
                    </a:ext>
                  </a:extLst>
                </p:cNvPr>
                <p:cNvSpPr/>
                <p:nvPr/>
              </p:nvSpPr>
              <p:spPr>
                <a:xfrm>
                  <a:off x="3489960" y="-350520"/>
                  <a:ext cx="180000" cy="180000"/>
                </a:xfrm>
                <a:prstGeom prst="rect">
                  <a:avLst/>
                </a:prstGeom>
                <a:solidFill>
                  <a:schemeClr val="accent1"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67"/>
                </a:p>
              </p:txBody>
            </p: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474EA5CC-42C2-4E63-A3DC-1857FBBF6D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89960" y="-170520"/>
                  <a:ext cx="108000" cy="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7AADFE0-5C50-4403-ABFD-285AE64CDD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69960" y="-350520"/>
                  <a:ext cx="0" cy="10800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" name="Marker">
                <a:extLst>
                  <a:ext uri="{FF2B5EF4-FFF2-40B4-BE49-F238E27FC236}">
                    <a16:creationId xmlns:a16="http://schemas.microsoft.com/office/drawing/2014/main" id="{549A9714-32F9-4555-AC1D-527ADD771A21}"/>
                  </a:ext>
                </a:extLst>
              </p:cNvPr>
              <p:cNvGrpSpPr/>
              <p:nvPr/>
            </p:nvGrpSpPr>
            <p:grpSpPr>
              <a:xfrm flipH="1">
                <a:off x="9145537" y="-180000"/>
                <a:ext cx="180000" cy="180000"/>
                <a:chOff x="3489960" y="-350520"/>
                <a:chExt cx="180000" cy="180000"/>
              </a:xfrm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D55B19D5-D168-4857-8922-369BE2D221E1}"/>
                    </a:ext>
                  </a:extLst>
                </p:cNvPr>
                <p:cNvSpPr/>
                <p:nvPr/>
              </p:nvSpPr>
              <p:spPr>
                <a:xfrm>
                  <a:off x="3489960" y="-350520"/>
                  <a:ext cx="180000" cy="180000"/>
                </a:xfrm>
                <a:prstGeom prst="rect">
                  <a:avLst/>
                </a:prstGeom>
                <a:solidFill>
                  <a:schemeClr val="accent1"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67"/>
                </a:p>
              </p:txBody>
            </p: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1788B98B-27B0-4864-982C-35D6D4A1B7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89960" y="-170520"/>
                  <a:ext cx="108000" cy="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C5B10015-AF75-4D79-A838-CB4D3DC27B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69960" y="-350520"/>
                  <a:ext cx="0" cy="10800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3" name="BottomMarkers">
              <a:extLst>
                <a:ext uri="{FF2B5EF4-FFF2-40B4-BE49-F238E27FC236}">
                  <a16:creationId xmlns:a16="http://schemas.microsoft.com/office/drawing/2014/main" id="{BF3488A9-1FE0-4D9E-991C-7C18361BBD33}"/>
                </a:ext>
              </a:extLst>
            </p:cNvPr>
            <p:cNvGrpSpPr/>
            <p:nvPr/>
          </p:nvGrpSpPr>
          <p:grpSpPr>
            <a:xfrm flipV="1">
              <a:off x="-180000" y="5143500"/>
              <a:ext cx="9505537" cy="180000"/>
              <a:chOff x="-180000" y="-180000"/>
              <a:chExt cx="9505537" cy="180000"/>
            </a:xfrm>
          </p:grpSpPr>
          <p:grpSp>
            <p:nvGrpSpPr>
              <p:cNvPr id="14" name="Marker">
                <a:extLst>
                  <a:ext uri="{FF2B5EF4-FFF2-40B4-BE49-F238E27FC236}">
                    <a16:creationId xmlns:a16="http://schemas.microsoft.com/office/drawing/2014/main" id="{004A42CB-470A-4996-8578-84D706A80AC2}"/>
                  </a:ext>
                </a:extLst>
              </p:cNvPr>
              <p:cNvGrpSpPr/>
              <p:nvPr/>
            </p:nvGrpSpPr>
            <p:grpSpPr>
              <a:xfrm>
                <a:off x="-180000" y="-180000"/>
                <a:ext cx="180000" cy="180000"/>
                <a:chOff x="3489960" y="-350520"/>
                <a:chExt cx="180000" cy="180000"/>
              </a:xfrm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FA524EE3-EE80-43B0-8374-B6868BFD5B59}"/>
                    </a:ext>
                  </a:extLst>
                </p:cNvPr>
                <p:cNvSpPr/>
                <p:nvPr/>
              </p:nvSpPr>
              <p:spPr>
                <a:xfrm>
                  <a:off x="3489960" y="-350520"/>
                  <a:ext cx="180000" cy="180000"/>
                </a:xfrm>
                <a:prstGeom prst="rect">
                  <a:avLst/>
                </a:prstGeom>
                <a:solidFill>
                  <a:schemeClr val="accent1"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67"/>
                </a:p>
              </p:txBody>
            </p: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BD1AC8E3-23AF-4446-B191-501534B76F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89960" y="-170520"/>
                  <a:ext cx="108000" cy="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8B9CCE54-5276-4789-953A-F2158EFF24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69960" y="-350520"/>
                  <a:ext cx="0" cy="10800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Marker">
                <a:extLst>
                  <a:ext uri="{FF2B5EF4-FFF2-40B4-BE49-F238E27FC236}">
                    <a16:creationId xmlns:a16="http://schemas.microsoft.com/office/drawing/2014/main" id="{7ECE77C4-026B-4DF8-879C-7606B862AA29}"/>
                  </a:ext>
                </a:extLst>
              </p:cNvPr>
              <p:cNvGrpSpPr/>
              <p:nvPr/>
            </p:nvGrpSpPr>
            <p:grpSpPr>
              <a:xfrm flipH="1">
                <a:off x="9145537" y="-180000"/>
                <a:ext cx="180000" cy="180000"/>
                <a:chOff x="3489960" y="-350520"/>
                <a:chExt cx="180000" cy="180000"/>
              </a:xfrm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EF2C785B-47D2-4A57-9998-17E9E4DBEE83}"/>
                    </a:ext>
                  </a:extLst>
                </p:cNvPr>
                <p:cNvSpPr/>
                <p:nvPr/>
              </p:nvSpPr>
              <p:spPr>
                <a:xfrm>
                  <a:off x="3489960" y="-350520"/>
                  <a:ext cx="180000" cy="180000"/>
                </a:xfrm>
                <a:prstGeom prst="rect">
                  <a:avLst/>
                </a:prstGeom>
                <a:solidFill>
                  <a:schemeClr val="accent1"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67"/>
                </a:p>
              </p:txBody>
            </p: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8B208B8F-8B79-4656-953A-7E3D6E1D6B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89960" y="-170520"/>
                  <a:ext cx="108000" cy="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9963152E-4009-4040-9129-379814402CD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69960" y="-350520"/>
                  <a:ext cx="0" cy="10800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62" name="ContentMarks">
            <a:extLst>
              <a:ext uri="{FF2B5EF4-FFF2-40B4-BE49-F238E27FC236}">
                <a16:creationId xmlns:a16="http://schemas.microsoft.com/office/drawing/2014/main" id="{D5977A6F-D42B-4247-B6E2-A00F827B5990}"/>
              </a:ext>
            </a:extLst>
          </p:cNvPr>
          <p:cNvGrpSpPr/>
          <p:nvPr/>
        </p:nvGrpSpPr>
        <p:grpSpPr>
          <a:xfrm>
            <a:off x="-179999" y="250825"/>
            <a:ext cx="9505537" cy="4641851"/>
            <a:chOff x="-180000" y="250824"/>
            <a:chExt cx="9505537" cy="4641851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45B1A3A6-504B-4BE9-9FE8-D4AC40417E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-180000" y="4892675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5198A1B-353B-445D-A309-ADD346C4479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17537" y="4892675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2B4BEBE-3953-4657-9163-0F4C538B10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-180000" y="47340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30E9F461-EC32-4288-AB1D-BE57A337E1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17537" y="47340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1E41FC67-DD7E-4C96-BE9D-77EE22775AC7}"/>
                </a:ext>
              </a:extLst>
            </p:cNvPr>
            <p:cNvCxnSpPr>
              <a:cxnSpLocks/>
            </p:cNvCxnSpPr>
            <p:nvPr/>
          </p:nvCxnSpPr>
          <p:spPr>
            <a:xfrm>
              <a:off x="-180000" y="250824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551CD23C-9864-4486-B6FA-44D1E75DCE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17537" y="250824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27290A09-544C-41ED-BAB1-D612C5265992}"/>
                </a:ext>
              </a:extLst>
            </p:cNvPr>
            <p:cNvCxnSpPr>
              <a:cxnSpLocks/>
            </p:cNvCxnSpPr>
            <p:nvPr/>
          </p:nvCxnSpPr>
          <p:spPr>
            <a:xfrm>
              <a:off x="-180000" y="6804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808C043-53DE-4B65-A786-DCF3758B8A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17537" y="680400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A984A157-F265-4132-B74E-0E514A18CFF1}"/>
                </a:ext>
              </a:extLst>
            </p:cNvPr>
            <p:cNvCxnSpPr>
              <a:cxnSpLocks/>
            </p:cNvCxnSpPr>
            <p:nvPr/>
          </p:nvCxnSpPr>
          <p:spPr>
            <a:xfrm>
              <a:off x="-180000" y="1115863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CB27575-E209-4637-9ED8-6A7BB56A39B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17537" y="1115863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24155F8-C541-4AE3-9C3B-4F3FA5DD36E7}"/>
                </a:ext>
              </a:extLst>
            </p:cNvPr>
            <p:cNvCxnSpPr>
              <a:cxnSpLocks/>
            </p:cNvCxnSpPr>
            <p:nvPr/>
          </p:nvCxnSpPr>
          <p:spPr>
            <a:xfrm>
              <a:off x="-180000" y="1386921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D7653FA5-6483-4206-98F9-A2500B7D8EE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17537" y="1386921"/>
              <a:ext cx="108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B786821E-8C4F-4EB3-AF99-99220163EB69}"/>
              </a:ext>
            </a:extLst>
          </p:cNvPr>
          <p:cNvGrpSpPr/>
          <p:nvPr/>
        </p:nvGrpSpPr>
        <p:grpSpPr>
          <a:xfrm>
            <a:off x="-250462" y="4729655"/>
            <a:ext cx="9646463" cy="419100"/>
            <a:chOff x="-250463" y="-1"/>
            <a:chExt cx="9646463" cy="717069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2D16BC2F-1C2B-4E33-A7CB-5191B2D588F6}"/>
                </a:ext>
              </a:extLst>
            </p:cNvPr>
            <p:cNvSpPr/>
            <p:nvPr/>
          </p:nvSpPr>
          <p:spPr>
            <a:xfrm>
              <a:off x="-250463" y="-1"/>
              <a:ext cx="180001" cy="717069"/>
            </a:xfrm>
            <a:prstGeom prst="rect">
              <a:avLst/>
            </a:prstGeom>
            <a:solidFill>
              <a:srgbClr val="B40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7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4DB75173-5771-490A-BF87-8D60BF9E44F2}"/>
                </a:ext>
              </a:extLst>
            </p:cNvPr>
            <p:cNvSpPr/>
            <p:nvPr/>
          </p:nvSpPr>
          <p:spPr>
            <a:xfrm>
              <a:off x="9215999" y="-1"/>
              <a:ext cx="180001" cy="717069"/>
            </a:xfrm>
            <a:prstGeom prst="rect">
              <a:avLst/>
            </a:prstGeom>
            <a:solidFill>
              <a:srgbClr val="B40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7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F284E98-9D0D-4858-A71F-4F7C2C4A2460}"/>
              </a:ext>
            </a:extLst>
          </p:cNvPr>
          <p:cNvGrpSpPr/>
          <p:nvPr/>
        </p:nvGrpSpPr>
        <p:grpSpPr>
          <a:xfrm>
            <a:off x="-250462" y="-5256"/>
            <a:ext cx="9646463" cy="696136"/>
            <a:chOff x="-250463" y="-1"/>
            <a:chExt cx="9646463" cy="71706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BD39424-C601-413B-A837-664440231898}"/>
                </a:ext>
              </a:extLst>
            </p:cNvPr>
            <p:cNvSpPr/>
            <p:nvPr/>
          </p:nvSpPr>
          <p:spPr>
            <a:xfrm>
              <a:off x="-250463" y="-1"/>
              <a:ext cx="180001" cy="717069"/>
            </a:xfrm>
            <a:prstGeom prst="rect">
              <a:avLst/>
            </a:prstGeom>
            <a:solidFill>
              <a:srgbClr val="B40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7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9888B30-06A5-4D7F-9F97-F1275CDD6B83}"/>
                </a:ext>
              </a:extLst>
            </p:cNvPr>
            <p:cNvSpPr/>
            <p:nvPr/>
          </p:nvSpPr>
          <p:spPr>
            <a:xfrm>
              <a:off x="9215999" y="-1"/>
              <a:ext cx="180001" cy="717069"/>
            </a:xfrm>
            <a:prstGeom prst="rect">
              <a:avLst/>
            </a:prstGeom>
            <a:solidFill>
              <a:srgbClr val="B40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7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5EEDAE-8007-4C94-BB06-F287D6843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676800"/>
            <a:ext cx="8640000" cy="5041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</a:t>
            </a:r>
            <a:br>
              <a:rPr lang="en-GB"/>
            </a:br>
            <a:r>
              <a:rPr lang="en-GB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602EAD-ECA1-453B-9688-FC87A01B93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000" y="1393200"/>
            <a:ext cx="8640000" cy="3339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Bullet level 2</a:t>
            </a:r>
          </a:p>
          <a:p>
            <a:pPr lvl="2"/>
            <a:r>
              <a:rPr lang="en-GB"/>
              <a:t>Bullet level 3</a:t>
            </a:r>
          </a:p>
          <a:p>
            <a:pPr lvl="3"/>
            <a:r>
              <a:rPr lang="en-GB"/>
              <a:t>Bullet level 4</a:t>
            </a:r>
          </a:p>
          <a:p>
            <a:pPr lvl="4"/>
            <a:r>
              <a:rPr lang="en-GB"/>
              <a:t>Bullet 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EA3C17-F03A-4947-BEDC-7C20188272B6}"/>
              </a:ext>
            </a:extLst>
          </p:cNvPr>
          <p:cNvSpPr txBox="1"/>
          <p:nvPr/>
        </p:nvSpPr>
        <p:spPr>
          <a:xfrm>
            <a:off x="250825" y="4816801"/>
            <a:ext cx="1260000" cy="9646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 pitchFamily="18" charset="2"/>
              <a:buNone/>
              <a:tabLst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S Proprietary and Confidential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1D227B47-8310-4AD7-AA57-C06FCE9DA3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7" y="4820400"/>
            <a:ext cx="3600000" cy="9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Luxinnovation Defence Technology and Innovation Day
Esch/Alzette, 4 November 2024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DA4F6929-9194-4FB9-9E55-8DDFBBFA52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1588" y="4816800"/>
            <a:ext cx="180000" cy="9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fld id="{020A4007-B15C-4364-BF0A-8D607DB62D8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8B9A53-5174-4B9C-A734-F9602306FD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40000" y="4816801"/>
            <a:ext cx="1080000" cy="964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|  20 May 2022</a:t>
            </a:r>
            <a:endParaRPr lang="en-GB"/>
          </a:p>
        </p:txBody>
      </p:sp>
      <p:pic>
        <p:nvPicPr>
          <p:cNvPr id="75" name="!!Logo_SES">
            <a:extLst>
              <a:ext uri="{FF2B5EF4-FFF2-40B4-BE49-F238E27FC236}">
                <a16:creationId xmlns:a16="http://schemas.microsoft.com/office/drawing/2014/main" id="{F376996B-B5F9-447E-B38B-75B902C624FD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/>
          <a:stretch/>
        </p:blipFill>
        <p:spPr bwMode="black">
          <a:xfrm>
            <a:off x="239309" y="168514"/>
            <a:ext cx="604396" cy="28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CDE7C259-CAF3-4DE4-B3E3-5B1F8903DA18}"/>
              </a:ext>
            </a:extLst>
          </p:cNvPr>
          <p:cNvGrpSpPr/>
          <p:nvPr/>
        </p:nvGrpSpPr>
        <p:grpSpPr>
          <a:xfrm>
            <a:off x="4482000" y="-180000"/>
            <a:ext cx="180000" cy="5503500"/>
            <a:chOff x="1153474" y="553473"/>
            <a:chExt cx="180000" cy="5503500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DE8CA177-3C59-446C-A1A0-83872CBCCB3C}"/>
                </a:ext>
              </a:extLst>
            </p:cNvPr>
            <p:cNvSpPr/>
            <p:nvPr/>
          </p:nvSpPr>
          <p:spPr>
            <a:xfrm>
              <a:off x="1153474" y="553473"/>
              <a:ext cx="180000" cy="18000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7"/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C486DB47-94A2-41B2-9204-C91D7AA5E47E}"/>
                </a:ext>
              </a:extLst>
            </p:cNvPr>
            <p:cNvCxnSpPr>
              <a:cxnSpLocks/>
            </p:cNvCxnSpPr>
            <p:nvPr/>
          </p:nvCxnSpPr>
          <p:spPr>
            <a:xfrm>
              <a:off x="1243474" y="553473"/>
              <a:ext cx="0" cy="108000"/>
            </a:xfrm>
            <a:prstGeom prst="line">
              <a:avLst/>
            </a:prstGeom>
            <a:ln>
              <a:solidFill>
                <a:srgbClr val="AEB8C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4B622D97-1452-44A4-AE7D-E39CB0C65089}"/>
                </a:ext>
              </a:extLst>
            </p:cNvPr>
            <p:cNvSpPr/>
            <p:nvPr/>
          </p:nvSpPr>
          <p:spPr>
            <a:xfrm flipV="1">
              <a:off x="1153474" y="5876973"/>
              <a:ext cx="180000" cy="18000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7"/>
            </a:p>
          </p:txBody>
        </p: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568A0B63-EA8C-4EF3-9C3E-92D103B7A0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43474" y="5948973"/>
              <a:ext cx="0" cy="108000"/>
            </a:xfrm>
            <a:prstGeom prst="line">
              <a:avLst/>
            </a:prstGeom>
            <a:ln>
              <a:solidFill>
                <a:srgbClr val="AEB8C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31A246B-6140-471E-BDA0-11B478F7B494}"/>
              </a:ext>
            </a:extLst>
          </p:cNvPr>
          <p:cNvCxnSpPr>
            <a:cxnSpLocks/>
          </p:cNvCxnSpPr>
          <p:nvPr/>
        </p:nvCxnSpPr>
        <p:spPr>
          <a:xfrm>
            <a:off x="0" y="5136357"/>
            <a:ext cx="9144000" cy="0"/>
          </a:xfrm>
          <a:prstGeom prst="line">
            <a:avLst/>
          </a:prstGeom>
          <a:ln w="25400">
            <a:gradFill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19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!!Logo_O3b_mPower">
            <a:extLst>
              <a:ext uri="{FF2B5EF4-FFF2-40B4-BE49-F238E27FC236}">
                <a16:creationId xmlns:a16="http://schemas.microsoft.com/office/drawing/2014/main" id="{24359D79-20A4-405A-A142-D8A25C1B3254}"/>
              </a:ext>
            </a:extLst>
          </p:cNvPr>
          <p:cNvPicPr>
            <a:picLocks noChangeAspect="1"/>
          </p:cNvPicPr>
          <p:nvPr/>
        </p:nvPicPr>
        <p:blipFill rotWithShape="1"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rcRect l="4050" t="24604" r="3914" b="27817"/>
          <a:stretch/>
        </p:blipFill>
        <p:spPr>
          <a:xfrm>
            <a:off x="7632289" y="288977"/>
            <a:ext cx="1260000" cy="1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07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811" r:id="rId7"/>
    <p:sldLayoutId id="2147483812" r:id="rId8"/>
    <p:sldLayoutId id="2147483813" r:id="rId9"/>
    <p:sldLayoutId id="2147483814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821" r:id="rId17"/>
    <p:sldLayoutId id="2147483822" r:id="rId18"/>
    <p:sldLayoutId id="2147483819" r:id="rId19"/>
    <p:sldLayoutId id="2147483817" r:id="rId20"/>
    <p:sldLayoutId id="2147483808" r:id="rId21"/>
    <p:sldLayoutId id="2147483809" r:id="rId22"/>
    <p:sldLayoutId id="2147483810" r:id="rId23"/>
  </p:sldLayoutIdLst>
  <p:transition spd="med">
    <p:fade/>
  </p:transition>
  <p:hf hdr="0" dt="0"/>
  <p:txStyles>
    <p:titleStyle>
      <a:lvl1pPr algn="l" defTabSz="685783" rtl="0" eaLnBrk="1" latinLnBrk="0" hangingPunct="1">
        <a:lnSpc>
          <a:spcPct val="91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995" indent="-215995" algn="l" defTabSz="685783" rtl="0" eaLnBrk="1" latinLnBrk="0" hangingPunct="1">
        <a:lnSpc>
          <a:spcPct val="103000"/>
        </a:lnSpc>
        <a:spcBef>
          <a:spcPts val="600"/>
        </a:spcBef>
        <a:spcAft>
          <a:spcPts val="200"/>
        </a:spcAft>
        <a:buFont typeface="Wingdings 3" panose="05040102010807070707" pitchFamily="18" charset="2"/>
        <a:buChar char="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5990" indent="-179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57986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3050404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3050404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81978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3050404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974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205970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367966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529962" indent="-143996" algn="l" defTabSz="685783" rtl="0" eaLnBrk="1" latinLnBrk="0" hangingPunct="1">
        <a:lnSpc>
          <a:spcPct val="103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D6D6D6"/>
          </p15:clr>
        </p15:guide>
        <p15:guide id="2" pos="5760">
          <p15:clr>
            <a:srgbClr val="D6D6D6"/>
          </p15:clr>
        </p15:guide>
        <p15:guide id="3" pos="158">
          <p15:clr>
            <a:srgbClr val="D6D6D6"/>
          </p15:clr>
        </p15:guide>
        <p15:guide id="4" pos="1897">
          <p15:clr>
            <a:srgbClr val="D6D6D6"/>
          </p15:clr>
        </p15:guide>
        <p15:guide id="5" pos="2010">
          <p15:clr>
            <a:srgbClr val="D6D6D6"/>
          </p15:clr>
        </p15:guide>
        <p15:guide id="6" pos="3749">
          <p15:clr>
            <a:srgbClr val="D6D6D6"/>
          </p15:clr>
        </p15:guide>
        <p15:guide id="7" pos="3862">
          <p15:clr>
            <a:srgbClr val="D6D6D6"/>
          </p15:clr>
        </p15:guide>
        <p15:guide id="8" pos="5601">
          <p15:clr>
            <a:srgbClr val="D6D6D6"/>
          </p15:clr>
        </p15:guide>
        <p15:guide id="9" orient="horz">
          <p15:clr>
            <a:srgbClr val="D6D6D6"/>
          </p15:clr>
        </p15:guide>
        <p15:guide id="10" orient="horz" pos="3240">
          <p15:clr>
            <a:srgbClr val="D6D6D6"/>
          </p15:clr>
        </p15:guide>
        <p15:guide id="11" orient="horz" pos="158">
          <p15:clr>
            <a:srgbClr val="D6D6D6"/>
          </p15:clr>
        </p15:guide>
        <p15:guide id="12" orient="horz" pos="3081">
          <p15:clr>
            <a:srgbClr val="D6D6D6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4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5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atellite network around the earth&#10;&#10;Description automatically generated">
            <a:extLst>
              <a:ext uri="{FF2B5EF4-FFF2-40B4-BE49-F238E27FC236}">
                <a16:creationId xmlns:a16="http://schemas.microsoft.com/office/drawing/2014/main" id="{EF4953D6-451D-B98F-9C92-F82F2FE1B9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412" y="2064627"/>
            <a:ext cx="8641782" cy="2874773"/>
          </a:xfrm>
          <a:prstGeom prst="rect">
            <a:avLst/>
          </a:prstGeom>
        </p:spPr>
      </p:pic>
      <p:sp>
        <p:nvSpPr>
          <p:cNvPr id="20" name="Title 19">
            <a:extLst>
              <a:ext uri="{FF2B5EF4-FFF2-40B4-BE49-F238E27FC236}">
                <a16:creationId xmlns:a16="http://schemas.microsoft.com/office/drawing/2014/main" id="{F233B584-A1BD-4C4E-8526-AD09CABC25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9600" y="575582"/>
            <a:ext cx="5701987" cy="1242120"/>
          </a:xfrm>
        </p:spPr>
        <p:txBody>
          <a:bodyPr/>
          <a:lstStyle/>
          <a:p>
            <a:r>
              <a:rPr lang="en-GB" dirty="0"/>
              <a:t>Luxembourg Industry Perspective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E878EAB8-C6A3-431C-BDD1-6A4888B366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9600" y="1534090"/>
            <a:ext cx="5521988" cy="216000"/>
          </a:xfrm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GB" dirty="0" err="1"/>
              <a:t>Luxinnovation</a:t>
            </a:r>
            <a:r>
              <a:rPr lang="en-GB" dirty="0"/>
              <a:t> Defence Technology and Innovation Day 2024</a:t>
            </a:r>
          </a:p>
          <a:p>
            <a:pPr>
              <a:lnSpc>
                <a:spcPct val="100000"/>
              </a:lnSpc>
            </a:pPr>
            <a:r>
              <a:rPr lang="en-GB" dirty="0"/>
              <a:t>Esch/</a:t>
            </a:r>
            <a:r>
              <a:rPr lang="en-GB" dirty="0" err="1"/>
              <a:t>Alzette</a:t>
            </a:r>
            <a:r>
              <a:rPr lang="en-GB" dirty="0"/>
              <a:t>, 4 November 2024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D7378429-DC2B-4BB6-B8D2-677F36236B4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1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07536C-C24E-0849-E4D7-D249A05627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746" y="1276915"/>
            <a:ext cx="1771650" cy="51435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5ABC6A1-A64D-7B0E-472A-16B12B3FE1B3}"/>
              </a:ext>
            </a:extLst>
          </p:cNvPr>
          <p:cNvGrpSpPr/>
          <p:nvPr/>
        </p:nvGrpSpPr>
        <p:grpSpPr>
          <a:xfrm>
            <a:off x="229281" y="1965985"/>
            <a:ext cx="8757845" cy="3203101"/>
            <a:chOff x="-78655" y="1940398"/>
            <a:chExt cx="8757845" cy="3203101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F0FB2FB-5867-7473-E2BF-AF8B2CFEA760}"/>
                </a:ext>
              </a:extLst>
            </p:cNvPr>
            <p:cNvGrpSpPr/>
            <p:nvPr/>
          </p:nvGrpSpPr>
          <p:grpSpPr>
            <a:xfrm>
              <a:off x="-78655" y="1940398"/>
              <a:ext cx="3218232" cy="3203101"/>
              <a:chOff x="183488" y="1923193"/>
              <a:chExt cx="2803179" cy="2790000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A517A611-37D2-CB7B-0511-E7608A1C4A6D}"/>
                  </a:ext>
                </a:extLst>
              </p:cNvPr>
              <p:cNvGrpSpPr/>
              <p:nvPr/>
            </p:nvGrpSpPr>
            <p:grpSpPr>
              <a:xfrm>
                <a:off x="183488" y="1923193"/>
                <a:ext cx="2803179" cy="2790000"/>
                <a:chOff x="183488" y="1923193"/>
                <a:chExt cx="2803179" cy="2790000"/>
              </a:xfrm>
            </p:grpSpPr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E5D2407F-0EF8-768D-53BC-C2CCFF61DF2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3488" y="2290206"/>
                  <a:ext cx="2803179" cy="388084"/>
                </a:xfrm>
                <a:prstGeom prst="line">
                  <a:avLst/>
                </a:prstGeom>
                <a:ln w="952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C7084C3B-35F2-1570-E630-3785422528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3323" y="1923193"/>
                  <a:ext cx="1160599" cy="2790000"/>
                </a:xfrm>
                <a:prstGeom prst="line">
                  <a:avLst/>
                </a:prstGeom>
                <a:ln w="952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4F0B65ED-DC0C-AD37-71F8-37F963B87891}"/>
                  </a:ext>
                </a:extLst>
              </p:cNvPr>
              <p:cNvSpPr/>
              <p:nvPr/>
            </p:nvSpPr>
            <p:spPr bwMode="hidden">
              <a:xfrm>
                <a:off x="252000" y="1924342"/>
                <a:ext cx="450000" cy="450000"/>
              </a:xfrm>
              <a:prstGeom prst="rect">
                <a:avLst/>
              </a:prstGeom>
              <a:solidFill>
                <a:srgbClr val="B40082">
                  <a:alpha val="0"/>
                </a:srgbClr>
              </a:solidFill>
              <a:ln w="6350">
                <a:solidFill>
                  <a:schemeClr val="accent3">
                    <a:alpha val="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41AE55E-8173-5558-A5DA-124896509D4C}"/>
                </a:ext>
              </a:extLst>
            </p:cNvPr>
            <p:cNvCxnSpPr>
              <a:cxnSpLocks/>
            </p:cNvCxnSpPr>
            <p:nvPr/>
          </p:nvCxnSpPr>
          <p:spPr>
            <a:xfrm>
              <a:off x="5492225" y="3145970"/>
              <a:ext cx="3186965" cy="441219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643179-29E0-4728-7D41-A936231B842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</p:spTree>
    <p:extLst>
      <p:ext uri="{BB962C8B-B14F-4D97-AF65-F5344CB8AC3E}">
        <p14:creationId xmlns:p14="http://schemas.microsoft.com/office/powerpoint/2010/main" val="6929947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NATO Innovation Fund in Luxembourg: Opportunities for innovators, start-ups  and co-investors">
            <a:extLst>
              <a:ext uri="{FF2B5EF4-FFF2-40B4-BE49-F238E27FC236}">
                <a16:creationId xmlns:a16="http://schemas.microsoft.com/office/drawing/2014/main" id="{11CCD0F7-452F-2027-E7EA-07012B9EE2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9024" y="-72748"/>
            <a:ext cx="2006741" cy="2047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C605C5F-B085-B8AB-43F1-23090709A3AD}"/>
              </a:ext>
            </a:extLst>
          </p:cNvPr>
          <p:cNvSpPr/>
          <p:nvPr/>
        </p:nvSpPr>
        <p:spPr>
          <a:xfrm rot="16200000">
            <a:off x="2095598" y="1055136"/>
            <a:ext cx="4442340" cy="2646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6D74B4-FBD2-8326-8A57-FA0A10D45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414" y="676275"/>
            <a:ext cx="2646514" cy="911225"/>
          </a:xfrm>
        </p:spPr>
        <p:txBody>
          <a:bodyPr/>
          <a:lstStyle/>
          <a:p>
            <a:r>
              <a:rPr lang="en-GB" dirty="0"/>
              <a:t>Luxembourg industry reinforces its priorities and positioning towards “dual-use” Defence projects</a:t>
            </a:r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3DDA29-7201-0AC9-A4DC-B043F53F1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1588" y="4816800"/>
            <a:ext cx="180000" cy="97200"/>
          </a:xfrm>
        </p:spPr>
        <p:txBody>
          <a:bodyPr/>
          <a:lstStyle/>
          <a:p>
            <a:fld id="{020A4007-B15C-4364-BF0A-8D607DB62D8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32885-93A2-D202-5CBB-FB63C5D9F820}"/>
              </a:ext>
            </a:extLst>
          </p:cNvPr>
          <p:cNvSpPr txBox="1"/>
          <p:nvPr/>
        </p:nvSpPr>
        <p:spPr>
          <a:xfrm>
            <a:off x="5712229" y="1727789"/>
            <a:ext cx="3174155" cy="1322996"/>
          </a:xfrm>
          <a:prstGeom prst="rect">
            <a:avLst/>
          </a:prstGeom>
          <a:solidFill>
            <a:srgbClr val="FF6700"/>
          </a:solidFill>
        </p:spPr>
        <p:txBody>
          <a:bodyPr wrap="square" lIns="144000" tIns="144000" rIns="144000" bIns="144000" rtlCol="0" anchor="t" anchorCtr="0">
            <a:noAutofit/>
          </a:bodyPr>
          <a:lstStyle>
            <a:defPPr>
              <a:defRPr lang="en-GB"/>
            </a:defPPr>
            <a:lvl1pPr marL="0" indent="0">
              <a:buNone/>
              <a:defRPr sz="1100" b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2A46F4-69F9-1929-03D4-99E867E8AC3F}"/>
              </a:ext>
            </a:extLst>
          </p:cNvPr>
          <p:cNvSpPr txBox="1"/>
          <p:nvPr/>
        </p:nvSpPr>
        <p:spPr>
          <a:xfrm>
            <a:off x="5717432" y="250825"/>
            <a:ext cx="3174155" cy="1336675"/>
          </a:xfrm>
          <a:prstGeom prst="rect">
            <a:avLst/>
          </a:prstGeom>
          <a:solidFill>
            <a:srgbClr val="0091D2"/>
          </a:solidFill>
        </p:spPr>
        <p:txBody>
          <a:bodyPr wrap="square" lIns="144000" tIns="144000" rIns="144000" bIns="144000" rtlCol="0" anchor="t" anchorCtr="0">
            <a:noAutofit/>
          </a:bodyPr>
          <a:lstStyle>
            <a:defPPr>
              <a:defRPr lang="en-GB"/>
            </a:defPPr>
            <a:lvl1pPr marL="0" indent="0">
              <a:buNone/>
              <a:defRPr sz="1100" b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Line 9">
            <a:extLst>
              <a:ext uri="{FF2B5EF4-FFF2-40B4-BE49-F238E27FC236}">
                <a16:creationId xmlns:a16="http://schemas.microsoft.com/office/drawing/2014/main" id="{310645FF-04EB-7CEF-E93F-2F91C941C711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7602" y="620658"/>
            <a:ext cx="288000" cy="0"/>
          </a:xfrm>
          <a:prstGeom prst="line">
            <a:avLst/>
          </a:prstGeom>
          <a:noFill/>
          <a:ln w="508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EA72F7-2806-2860-7FAA-79163B837B53}"/>
              </a:ext>
            </a:extLst>
          </p:cNvPr>
          <p:cNvSpPr txBox="1"/>
          <p:nvPr/>
        </p:nvSpPr>
        <p:spPr>
          <a:xfrm>
            <a:off x="5712229" y="3219724"/>
            <a:ext cx="3179359" cy="1486291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144000" rIns="144000" bIns="144000" rtlCol="0" anchor="t" anchorCtr="0">
            <a:noAutofit/>
          </a:bodyPr>
          <a:lstStyle>
            <a:defPPr>
              <a:defRPr lang="en-GB"/>
            </a:defPPr>
            <a:lvl1pPr marL="0" indent="0">
              <a:buNone/>
              <a:defRPr sz="1100" b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id="{91509088-0A04-32BC-756C-48CB5FC6E124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7602" y="1855959"/>
            <a:ext cx="288000" cy="0"/>
          </a:xfrm>
          <a:prstGeom prst="line">
            <a:avLst/>
          </a:prstGeom>
          <a:noFill/>
          <a:ln w="508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DA783D-B060-7196-5D21-66E58B09E9CC}"/>
              </a:ext>
            </a:extLst>
          </p:cNvPr>
          <p:cNvSpPr txBox="1"/>
          <p:nvPr/>
        </p:nvSpPr>
        <p:spPr>
          <a:xfrm>
            <a:off x="5870121" y="3246192"/>
            <a:ext cx="2923359" cy="1396005"/>
          </a:xfrm>
          <a:prstGeom prst="rect">
            <a:avLst/>
          </a:prstGeom>
        </p:spPr>
        <p:txBody>
          <a:bodyPr wrap="square" lIns="108000" tIns="144000" rIns="144000" bIns="0" rtlCol="0">
            <a:spAutoFit/>
          </a:bodyPr>
          <a:lstStyle/>
          <a:p>
            <a:pPr marL="0" indent="0" defTabSz="914378">
              <a:lnSpc>
                <a:spcPct val="110000"/>
              </a:lnSpc>
              <a:spcBef>
                <a:spcPts val="0"/>
              </a:spcBef>
              <a:spcAft>
                <a:spcPts val="1067"/>
              </a:spcAft>
              <a:buNone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NATO Industry and Advisory Group (NIAG)</a:t>
            </a:r>
          </a:p>
          <a:p>
            <a:pPr marL="0" indent="0" defTabSz="914378">
              <a:lnSpc>
                <a:spcPct val="110000"/>
              </a:lnSpc>
              <a:spcBef>
                <a:spcPts val="0"/>
              </a:spcBef>
              <a:spcAft>
                <a:spcPts val="1067"/>
              </a:spcAft>
              <a:buNone/>
              <a:defRPr/>
            </a:pPr>
            <a:endParaRPr kumimoji="0" lang="en-US" sz="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0" indent="0" defTabSz="914378">
              <a:lnSpc>
                <a:spcPct val="110000"/>
              </a:lnSpc>
              <a:spcBef>
                <a:spcPts val="0"/>
              </a:spcBef>
              <a:spcAft>
                <a:spcPts val="1067"/>
              </a:spcAft>
              <a:buNone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NIAG-SPACENET 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workgroup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9">
            <a:extLst>
              <a:ext uri="{FF2B5EF4-FFF2-40B4-BE49-F238E27FC236}">
                <a16:creationId xmlns:a16="http://schemas.microsoft.com/office/drawing/2014/main" id="{03C6DBF0-172F-C464-7B6B-89C94A561B0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7602" y="3427889"/>
            <a:ext cx="288000" cy="0"/>
          </a:xfrm>
          <a:prstGeom prst="line">
            <a:avLst/>
          </a:prstGeom>
          <a:noFill/>
          <a:ln w="5080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200" noProof="0">
              <a:solidFill>
                <a:schemeClr val="bg1"/>
              </a:solidFill>
            </a:endParaRPr>
          </a:p>
        </p:txBody>
      </p:sp>
      <p:sp>
        <p:nvSpPr>
          <p:cNvPr id="97" name="Rectangle 5">
            <a:extLst>
              <a:ext uri="{FF2B5EF4-FFF2-40B4-BE49-F238E27FC236}">
                <a16:creationId xmlns:a16="http://schemas.microsoft.com/office/drawing/2014/main" id="{B03DE022-4E73-52A2-7501-A9E08B08D1F2}"/>
              </a:ext>
            </a:extLst>
          </p:cNvPr>
          <p:cNvSpPr/>
          <p:nvPr/>
        </p:nvSpPr>
        <p:spPr>
          <a:xfrm>
            <a:off x="5870121" y="1868261"/>
            <a:ext cx="2837710" cy="13001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marL="0" indent="0">
              <a:buNone/>
              <a:defRPr/>
            </a:pPr>
            <a:r>
              <a:rPr lang="en-GB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Special Workgroups</a:t>
            </a:r>
          </a:p>
          <a:p>
            <a:pPr marL="0" indent="0">
              <a:buNone/>
              <a:defRPr/>
            </a:pPr>
            <a:r>
              <a:rPr lang="en-GB" b="1" dirty="0">
                <a:ln w="18000">
                  <a:noFill/>
                  <a:prstDash val="solid"/>
                  <a:miter lim="800000"/>
                </a:ln>
                <a:solidFill>
                  <a:schemeClr val="bg1"/>
                </a:solidFill>
                <a:latin typeface="Arial" panose="020B0604020202020204"/>
              </a:rPr>
              <a:t>	Defence</a:t>
            </a:r>
          </a:p>
          <a:p>
            <a:pPr marL="0" indent="0">
              <a:buNone/>
              <a:defRPr/>
            </a:pPr>
            <a:r>
              <a:rPr lang="en-GB" b="1" dirty="0">
                <a:ln w="18000">
                  <a:noFill/>
                  <a:prstDash val="solid"/>
                  <a:miter lim="800000"/>
                </a:ln>
                <a:solidFill>
                  <a:schemeClr val="bg1"/>
                </a:solidFill>
                <a:latin typeface="Arial" panose="020B0604020202020204"/>
              </a:rPr>
              <a:t>	Artificial Intelligence</a:t>
            </a:r>
          </a:p>
          <a:p>
            <a:pPr marL="0" indent="0">
              <a:buNone/>
              <a:defRPr/>
            </a:pPr>
            <a:r>
              <a:rPr lang="en-GB" b="1" dirty="0">
                <a:ln w="18000">
                  <a:noFill/>
                  <a:prstDash val="solid"/>
                  <a:miter lim="800000"/>
                </a:ln>
                <a:solidFill>
                  <a:schemeClr val="bg1"/>
                </a:solidFill>
                <a:latin typeface="Arial" panose="020B0604020202020204"/>
              </a:rPr>
              <a:t>	Talent</a:t>
            </a:r>
          </a:p>
          <a:p>
            <a:pPr marL="0" indent="0">
              <a:buNone/>
              <a:defRPr/>
            </a:pPr>
            <a:endParaRPr lang="en-GB" b="1" dirty="0">
              <a:ln w="18000">
                <a:noFill/>
                <a:prstDash val="solid"/>
                <a:miter lim="800000"/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071F04-9845-D5CE-2824-A152FAD7B1DD}"/>
              </a:ext>
            </a:extLst>
          </p:cNvPr>
          <p:cNvSpPr txBox="1"/>
          <p:nvPr/>
        </p:nvSpPr>
        <p:spPr>
          <a:xfrm>
            <a:off x="257615" y="2113189"/>
            <a:ext cx="2354704" cy="116062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indent="0" algn="l">
              <a:buNone/>
            </a:pPr>
            <a:r>
              <a:rPr lang="en-GB" dirty="0"/>
              <a:t>Three</a:t>
            </a:r>
            <a:r>
              <a:rPr lang="en-GB" sz="1400" b="0" dirty="0"/>
              <a:t> parallel initiatives towards a developing Luxembourg industry interests in Defence</a:t>
            </a:r>
            <a:endParaRPr lang="en-US" dirty="0"/>
          </a:p>
        </p:txBody>
      </p:sp>
      <p:pic>
        <p:nvPicPr>
          <p:cNvPr id="1030" name="Picture 6" descr="NIAG">
            <a:extLst>
              <a:ext uri="{FF2B5EF4-FFF2-40B4-BE49-F238E27FC236}">
                <a16:creationId xmlns:a16="http://schemas.microsoft.com/office/drawing/2014/main" id="{584DA196-07A1-F3CF-9C92-83F31A5E42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602" y="3542346"/>
            <a:ext cx="1830186" cy="915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5">
            <a:extLst>
              <a:ext uri="{FF2B5EF4-FFF2-40B4-BE49-F238E27FC236}">
                <a16:creationId xmlns:a16="http://schemas.microsoft.com/office/drawing/2014/main" id="{85BFF679-D905-D9F1-1062-2BE0D67AC70D}"/>
              </a:ext>
            </a:extLst>
          </p:cNvPr>
          <p:cNvSpPr/>
          <p:nvPr/>
        </p:nvSpPr>
        <p:spPr>
          <a:xfrm>
            <a:off x="5870121" y="411361"/>
            <a:ext cx="2539093" cy="10269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marL="0" indent="0">
              <a:buNone/>
              <a:defRPr/>
            </a:pPr>
            <a:endParaRPr lang="en-GB" dirty="0">
              <a:ln w="18000">
                <a:noFill/>
                <a:prstDash val="solid"/>
                <a:miter lim="800000"/>
              </a:ln>
              <a:solidFill>
                <a:schemeClr val="bg1"/>
              </a:solidFill>
              <a:latin typeface="Arial" panose="020B0604020202020204"/>
            </a:endParaRPr>
          </a:p>
          <a:p>
            <a:pPr marL="0" indent="0">
              <a:buNone/>
              <a:defRPr/>
            </a:pPr>
            <a:r>
              <a:rPr lang="en-GB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Fostering Innovation </a:t>
            </a:r>
          </a:p>
          <a:p>
            <a:pPr marL="0" indent="0">
              <a:buNone/>
              <a:defRPr/>
            </a:pPr>
            <a:r>
              <a:rPr lang="en-GB" b="1" dirty="0">
                <a:ln w="18000">
                  <a:noFill/>
                  <a:prstDash val="solid"/>
                  <a:miter lim="800000"/>
                </a:ln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	</a:t>
            </a:r>
            <a:r>
              <a:rPr lang="en-GB" dirty="0">
                <a:ln w="18000">
                  <a:noFill/>
                  <a:prstDash val="solid"/>
                  <a:miter lim="800000"/>
                </a:ln>
                <a:solidFill>
                  <a:schemeClr val="bg1"/>
                </a:solidFill>
                <a:latin typeface="Arial" panose="020B0604020202020204"/>
              </a:rPr>
              <a:t>in Key Domains</a:t>
            </a:r>
          </a:p>
          <a:p>
            <a:pPr marL="0" indent="0">
              <a:buNone/>
              <a:defRPr/>
            </a:pPr>
            <a:r>
              <a:rPr lang="en-GB" b="1" dirty="0">
                <a:ln w="18000">
                  <a:noFill/>
                  <a:prstDash val="solid"/>
                  <a:miter lim="800000"/>
                </a:ln>
                <a:solidFill>
                  <a:schemeClr val="bg1"/>
                </a:solidFill>
                <a:latin typeface="Arial" panose="020B0604020202020204"/>
              </a:rPr>
              <a:t>	</a:t>
            </a:r>
            <a:endParaRPr lang="en-GB" b="1" dirty="0">
              <a:ln w="18000">
                <a:noFill/>
                <a:prstDash val="solid"/>
                <a:miter lim="800000"/>
              </a:ln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076" name="Picture 4" descr="Le Groupe Chambre de Commerce">
            <a:extLst>
              <a:ext uri="{FF2B5EF4-FFF2-40B4-BE49-F238E27FC236}">
                <a16:creationId xmlns:a16="http://schemas.microsoft.com/office/drawing/2014/main" id="{8E057408-6E6C-555B-805D-37F83781F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602" y="1918097"/>
            <a:ext cx="1830186" cy="986865"/>
          </a:xfrm>
          <a:prstGeom prst="rect">
            <a:avLst/>
          </a:prstGeom>
          <a:noFill/>
        </p:spPr>
      </p:pic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F51E83F-2D1A-1B9E-7816-678A193DC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  <a:endParaRPr lang="en-GB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3AEAA1E-9BA0-939C-69A0-6B2E50D67197}"/>
              </a:ext>
            </a:extLst>
          </p:cNvPr>
          <p:cNvGrpSpPr/>
          <p:nvPr/>
        </p:nvGrpSpPr>
        <p:grpSpPr>
          <a:xfrm>
            <a:off x="252169" y="3697082"/>
            <a:ext cx="2491031" cy="1036622"/>
            <a:chOff x="251999" y="2901429"/>
            <a:chExt cx="2491031" cy="1036622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0EBA5873-E6F0-5DF9-188A-A7775E91178B}"/>
                </a:ext>
              </a:extLst>
            </p:cNvPr>
            <p:cNvSpPr txBox="1">
              <a:spLocks/>
            </p:cNvSpPr>
            <p:nvPr/>
          </p:nvSpPr>
          <p:spPr>
            <a:xfrm>
              <a:off x="251999" y="3016607"/>
              <a:ext cx="2491031" cy="921444"/>
            </a:xfrm>
            <a:prstGeom prst="rect">
              <a:avLst/>
            </a:prstGeom>
          </p:spPr>
          <p:txBody>
            <a:bodyPr vert="horz" lIns="0" tIns="36000" rIns="0" bIns="0" rtlCol="0" anchor="t" anchorCtr="0">
              <a:noAutofit/>
            </a:bodyPr>
            <a:lstStyle>
              <a:lvl1pPr algn="l" defTabSz="685800" rtl="0" eaLnBrk="1" latinLnBrk="0" hangingPunct="1">
                <a:lnSpc>
                  <a:spcPts val="2000"/>
                </a:lnSpc>
                <a:spcBef>
                  <a:spcPts val="600"/>
                </a:spcBef>
                <a:spcAft>
                  <a:spcPts val="200"/>
                </a:spcAft>
                <a:buNone/>
                <a:defRPr sz="2400" b="1" kern="100" cap="all" spc="-100" baseline="0">
                  <a:solidFill>
                    <a:schemeClr val="bg1"/>
                  </a:solidFill>
                  <a:latin typeface="Arial Black" panose="020B0A04020102020204" pitchFamily="34" charset="0"/>
                  <a:ea typeface="+mj-ea"/>
                  <a:cs typeface="+mj-cs"/>
                </a:defRPr>
              </a:lvl1pPr>
            </a:lstStyle>
            <a:p>
              <a:pPr marL="0" indent="0" defTabSz="914333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r>
                <a:rPr lang="en-GB" sz="1600" b="1" spc="-1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Business Opportunities in Defence are </a:t>
              </a:r>
              <a:r>
                <a:rPr lang="en-GB" sz="16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material</a:t>
              </a:r>
              <a:endParaRPr lang="en-GB" sz="1600" b="1" spc="-100" dirty="0">
                <a:solidFill>
                  <a:srgbClr val="2490D8"/>
                </a:solidFill>
                <a:latin typeface="Arial Black" panose="020B0604020202020204" pitchFamily="34" charset="0"/>
                <a:cs typeface="Arial Black" panose="020B0604020202020204" pitchFamily="34" charset="0"/>
              </a:endParaRPr>
            </a:p>
          </p:txBody>
        </p:sp>
        <p:sp>
          <p:nvSpPr>
            <p:cNvPr id="22" name="Line 9">
              <a:extLst>
                <a:ext uri="{FF2B5EF4-FFF2-40B4-BE49-F238E27FC236}">
                  <a16:creationId xmlns:a16="http://schemas.microsoft.com/office/drawing/2014/main" id="{15EA8C0D-707E-2BB7-02FD-1A834D0CD6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831" y="2901429"/>
              <a:ext cx="288000" cy="0"/>
            </a:xfrm>
            <a:prstGeom prst="line">
              <a:avLst/>
            </a:prstGeom>
            <a:noFill/>
            <a:ln w="50800" cmpd="sng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12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3105343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9FED9B3-2B74-6F22-4276-24E7EC4E7C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956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0" imgH="501" progId="TCLayout.ActiveDocument.1">
                  <p:embed/>
                </p:oleObj>
              </mc:Choice>
              <mc:Fallback>
                <p:oleObj name="think-cell Slide" r:id="rId4" imgW="500" imgH="50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FED9B3-2B74-6F22-4276-24E7EC4E7C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4E6090A-A9C6-4DAA-93A6-5350FDE7E757}"/>
              </a:ext>
            </a:extLst>
          </p:cNvPr>
          <p:cNvSpPr/>
          <p:nvPr/>
        </p:nvSpPr>
        <p:spPr>
          <a:xfrm rot="16200000">
            <a:off x="5682913" y="-500460"/>
            <a:ext cx="519268" cy="5898082"/>
          </a:xfrm>
          <a:prstGeom prst="rect">
            <a:avLst/>
          </a:prstGeom>
          <a:solidFill>
            <a:srgbClr val="FF6700"/>
          </a:solidFill>
          <a:ln>
            <a:solidFill>
              <a:srgbClr val="FF6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1D17CE-8A94-B21A-87B5-5A20DF53ED7F}"/>
              </a:ext>
            </a:extLst>
          </p:cNvPr>
          <p:cNvSpPr/>
          <p:nvPr/>
        </p:nvSpPr>
        <p:spPr>
          <a:xfrm rot="16200000">
            <a:off x="5208973" y="-1560902"/>
            <a:ext cx="1467151" cy="58980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389B779-12B1-59B7-0B8C-3998BECD7E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87" y="657914"/>
            <a:ext cx="8640000" cy="504112"/>
          </a:xfrm>
        </p:spPr>
        <p:txBody>
          <a:bodyPr vert="horz"/>
          <a:lstStyle/>
          <a:p>
            <a:r>
              <a:rPr lang="fr-CH" dirty="0"/>
              <a:t>Groupe de Travail</a:t>
            </a:r>
            <a:br>
              <a:rPr lang="fr-CH" dirty="0"/>
            </a:br>
            <a:r>
              <a:rPr lang="fr-CH" dirty="0"/>
              <a:t>« Défense »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3927CC-9D6F-F05E-1C22-33B460FD7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1588" y="4816800"/>
            <a:ext cx="180000" cy="97200"/>
          </a:xfrm>
        </p:spPr>
        <p:txBody>
          <a:bodyPr/>
          <a:lstStyle/>
          <a:p>
            <a:fld id="{020A4007-B15C-4364-BF0A-8D607DB62D85}" type="slidenum">
              <a:rPr lang="en-GB" smtClean="0"/>
              <a:pPr/>
              <a:t>3</a:t>
            </a:fld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632AAD8-4304-E452-399D-2AA17546AF0E}"/>
              </a:ext>
            </a:extLst>
          </p:cNvPr>
          <p:cNvGrpSpPr/>
          <p:nvPr/>
        </p:nvGrpSpPr>
        <p:grpSpPr>
          <a:xfrm>
            <a:off x="252169" y="3203172"/>
            <a:ext cx="2491031" cy="1036622"/>
            <a:chOff x="251999" y="2901429"/>
            <a:chExt cx="2491031" cy="1036622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FABEC75B-7B57-E26B-5C96-76E71602CC8D}"/>
                </a:ext>
              </a:extLst>
            </p:cNvPr>
            <p:cNvSpPr txBox="1">
              <a:spLocks/>
            </p:cNvSpPr>
            <p:nvPr/>
          </p:nvSpPr>
          <p:spPr>
            <a:xfrm>
              <a:off x="251999" y="3016607"/>
              <a:ext cx="2491031" cy="921444"/>
            </a:xfrm>
            <a:prstGeom prst="rect">
              <a:avLst/>
            </a:prstGeom>
          </p:spPr>
          <p:txBody>
            <a:bodyPr vert="horz" lIns="0" tIns="36000" rIns="0" bIns="0" rtlCol="0" anchor="t" anchorCtr="0">
              <a:noAutofit/>
            </a:bodyPr>
            <a:lstStyle>
              <a:lvl1pPr algn="l" defTabSz="685800" rtl="0" eaLnBrk="1" latinLnBrk="0" hangingPunct="1">
                <a:lnSpc>
                  <a:spcPts val="2000"/>
                </a:lnSpc>
                <a:spcBef>
                  <a:spcPts val="600"/>
                </a:spcBef>
                <a:spcAft>
                  <a:spcPts val="200"/>
                </a:spcAft>
                <a:buNone/>
                <a:defRPr sz="2400" b="1" kern="100" cap="all" spc="-100" baseline="0">
                  <a:solidFill>
                    <a:schemeClr val="bg1"/>
                  </a:solidFill>
                  <a:latin typeface="Arial Black" panose="020B0A04020102020204" pitchFamily="34" charset="0"/>
                  <a:ea typeface="+mj-ea"/>
                  <a:cs typeface="+mj-cs"/>
                </a:defRPr>
              </a:lvl1pPr>
            </a:lstStyle>
            <a:p>
              <a:pPr marL="0" indent="0" defTabSz="914333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r>
                <a:rPr lang="en-GB" sz="1600" b="1" spc="-1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Enhancing Luxembourg's economy by more effectively ADDRESSING opportunities in the defence sector</a:t>
              </a:r>
            </a:p>
          </p:txBody>
        </p:sp>
        <p:sp>
          <p:nvSpPr>
            <p:cNvPr id="19" name="Line 9">
              <a:extLst>
                <a:ext uri="{FF2B5EF4-FFF2-40B4-BE49-F238E27FC236}">
                  <a16:creationId xmlns:a16="http://schemas.microsoft.com/office/drawing/2014/main" id="{E975C01C-26AE-BB99-DBE6-13E34AE2CF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831" y="2901429"/>
              <a:ext cx="288000" cy="0"/>
            </a:xfrm>
            <a:prstGeom prst="line">
              <a:avLst/>
            </a:prstGeom>
            <a:noFill/>
            <a:ln w="50800" cmpd="sng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1200" noProof="0">
                <a:solidFill>
                  <a:schemeClr val="bg1"/>
                </a:solidFill>
              </a:endParaRPr>
            </a:p>
          </p:txBody>
        </p:sp>
      </p:grpSp>
      <p:pic>
        <p:nvPicPr>
          <p:cNvPr id="1028" name="Picture 4" descr="Logo Chambre de Commerce">
            <a:extLst>
              <a:ext uri="{FF2B5EF4-FFF2-40B4-BE49-F238E27FC236}">
                <a16:creationId xmlns:a16="http://schemas.microsoft.com/office/drawing/2014/main" id="{91BD3774-5136-9665-4D45-FB22C0AC5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01" y="1700165"/>
            <a:ext cx="1565651" cy="84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bject 16">
            <a:extLst>
              <a:ext uri="{FF2B5EF4-FFF2-40B4-BE49-F238E27FC236}">
                <a16:creationId xmlns:a16="http://schemas.microsoft.com/office/drawing/2014/main" id="{04B121E7-7052-D6D1-8588-F86FD5334477}"/>
              </a:ext>
            </a:extLst>
          </p:cNvPr>
          <p:cNvSpPr txBox="1"/>
          <p:nvPr/>
        </p:nvSpPr>
        <p:spPr>
          <a:xfrm>
            <a:off x="3214151" y="808482"/>
            <a:ext cx="1788155" cy="1313234"/>
          </a:xfrm>
          <a:prstGeom prst="rect">
            <a:avLst/>
          </a:prstGeom>
        </p:spPr>
        <p:txBody>
          <a:bodyPr vert="horz" wrap="square" lIns="0" tIns="9525" rIns="0" bIns="0" rtlCol="0">
            <a:noAutofit/>
          </a:bodyPr>
          <a:lstStyle/>
          <a:p>
            <a:pPr marL="0" indent="0" algn="r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600" b="1" spc="-100" dirty="0">
                <a:solidFill>
                  <a:srgbClr val="0091D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MISSION </a:t>
            </a:r>
            <a:br>
              <a:rPr lang="en-GB" sz="1600" b="1" spc="-100" dirty="0">
                <a:solidFill>
                  <a:srgbClr val="0091D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GB" sz="1600" b="1" spc="-100" dirty="0">
                <a:solidFill>
                  <a:srgbClr val="0091D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FRAMEWORK</a:t>
            </a:r>
            <a:endParaRPr lang="nl-NL" sz="1600" b="1" spc="-100" dirty="0">
              <a:solidFill>
                <a:srgbClr val="0091D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0" indent="0" algn="r">
              <a:lnSpc>
                <a:spcPct val="90000"/>
              </a:lnSpc>
              <a:spcBef>
                <a:spcPts val="75"/>
              </a:spcBef>
              <a:buNone/>
            </a:pPr>
            <a:endParaRPr lang="nl-NL" sz="1600" b="1" spc="-100" dirty="0">
              <a:solidFill>
                <a:srgbClr val="0091D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0" indent="0" algn="r">
              <a:lnSpc>
                <a:spcPct val="90000"/>
              </a:lnSpc>
              <a:spcBef>
                <a:spcPts val="75"/>
              </a:spcBef>
              <a:buNone/>
            </a:pPr>
            <a:endParaRPr lang="nl-NL" sz="200" b="1" spc="-100" dirty="0">
              <a:solidFill>
                <a:srgbClr val="0091D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0" indent="0" algn="r">
              <a:lnSpc>
                <a:spcPct val="90000"/>
              </a:lnSpc>
              <a:spcBef>
                <a:spcPts val="75"/>
              </a:spcBef>
              <a:buNone/>
            </a:pPr>
            <a:endParaRPr sz="1600" b="1" spc="-100" dirty="0">
              <a:solidFill>
                <a:srgbClr val="0091D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63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CH" sz="1600" b="1" spc="-100" dirty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4 Areas of Focus</a:t>
            </a:r>
            <a:endParaRPr sz="1600" b="1" spc="-100" dirty="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D149423-6BFB-C70D-44BB-03748DEA5A77}"/>
              </a:ext>
            </a:extLst>
          </p:cNvPr>
          <p:cNvSpPr txBox="1"/>
          <p:nvPr/>
        </p:nvSpPr>
        <p:spPr>
          <a:xfrm>
            <a:off x="5102198" y="658505"/>
            <a:ext cx="3789392" cy="1463211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anchor="ctr">
            <a:noAutofit/>
          </a:bodyPr>
          <a:lstStyle/>
          <a:p>
            <a:pPr marL="0" indent="0">
              <a:buNone/>
            </a:pPr>
            <a:r>
              <a:rPr lang="en-GB" sz="1600" spc="-10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Develop for Luxembourg a comprehensive strategy and actionable recommendations for public and industry stakeholders to effectively capitalize on emerging business opportunities in defence</a:t>
            </a:r>
          </a:p>
        </p:txBody>
      </p:sp>
      <p:sp>
        <p:nvSpPr>
          <p:cNvPr id="30" name="object 16">
            <a:extLst>
              <a:ext uri="{FF2B5EF4-FFF2-40B4-BE49-F238E27FC236}">
                <a16:creationId xmlns:a16="http://schemas.microsoft.com/office/drawing/2014/main" id="{92E14227-ABDA-3BD1-F7F3-ADC0729F5B63}"/>
              </a:ext>
            </a:extLst>
          </p:cNvPr>
          <p:cNvSpPr txBox="1"/>
          <p:nvPr/>
        </p:nvSpPr>
        <p:spPr>
          <a:xfrm>
            <a:off x="3214151" y="2208199"/>
            <a:ext cx="5561342" cy="46051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400" b="1" spc="-100" dirty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Area 1 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endParaRPr lang="en-GB" sz="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select strategic defence sector priorities for the medium to long term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263527D-130B-9A6B-EABE-408ABA598A3A}"/>
              </a:ext>
            </a:extLst>
          </p:cNvPr>
          <p:cNvSpPr/>
          <p:nvPr/>
        </p:nvSpPr>
        <p:spPr>
          <a:xfrm rot="16200000">
            <a:off x="5682913" y="98026"/>
            <a:ext cx="519268" cy="5898082"/>
          </a:xfrm>
          <a:prstGeom prst="rect">
            <a:avLst/>
          </a:prstGeom>
          <a:solidFill>
            <a:srgbClr val="FF6700"/>
          </a:solidFill>
          <a:ln>
            <a:solidFill>
              <a:srgbClr val="FF6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" name="object 16">
            <a:extLst>
              <a:ext uri="{FF2B5EF4-FFF2-40B4-BE49-F238E27FC236}">
                <a16:creationId xmlns:a16="http://schemas.microsoft.com/office/drawing/2014/main" id="{ADB4D659-12C9-8C85-46D0-A51B2175E62C}"/>
              </a:ext>
            </a:extLst>
          </p:cNvPr>
          <p:cNvSpPr txBox="1"/>
          <p:nvPr/>
        </p:nvSpPr>
        <p:spPr>
          <a:xfrm>
            <a:off x="3214151" y="2806685"/>
            <a:ext cx="5561342" cy="46051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400" b="1" spc="-100" dirty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Area 2 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endParaRPr lang="en-GB" sz="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bring ecosystem together more effectively and accelerate its matura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5F096B3-B503-FB1C-12D3-7A5F1145E0C7}"/>
              </a:ext>
            </a:extLst>
          </p:cNvPr>
          <p:cNvSpPr/>
          <p:nvPr/>
        </p:nvSpPr>
        <p:spPr>
          <a:xfrm rot="16200000">
            <a:off x="5682914" y="699836"/>
            <a:ext cx="519265" cy="5898082"/>
          </a:xfrm>
          <a:prstGeom prst="rect">
            <a:avLst/>
          </a:prstGeom>
          <a:solidFill>
            <a:srgbClr val="FF6700"/>
          </a:solidFill>
          <a:ln>
            <a:solidFill>
              <a:srgbClr val="FF6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" name="object 16">
            <a:extLst>
              <a:ext uri="{FF2B5EF4-FFF2-40B4-BE49-F238E27FC236}">
                <a16:creationId xmlns:a16="http://schemas.microsoft.com/office/drawing/2014/main" id="{AFF93E88-86A4-9B39-1C6B-F83947AAA442}"/>
              </a:ext>
            </a:extLst>
          </p:cNvPr>
          <p:cNvSpPr txBox="1"/>
          <p:nvPr/>
        </p:nvSpPr>
        <p:spPr>
          <a:xfrm>
            <a:off x="3214151" y="3408496"/>
            <a:ext cx="5561342" cy="46051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400" b="1" spc="-100" dirty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Area 3 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endParaRPr lang="en-GB" sz="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support transitioning from “</a:t>
            </a:r>
            <a:r>
              <a:rPr lang="en-GB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”esearch</a:t>
            </a: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“</a:t>
            </a:r>
            <a:r>
              <a:rPr lang="en-GB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”evelopment</a:t>
            </a: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defence sector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F46334C-2C1F-6C4A-2743-453E70664C14}"/>
              </a:ext>
            </a:extLst>
          </p:cNvPr>
          <p:cNvSpPr/>
          <p:nvPr/>
        </p:nvSpPr>
        <p:spPr>
          <a:xfrm rot="16200000">
            <a:off x="5568904" y="1411960"/>
            <a:ext cx="747284" cy="5898082"/>
          </a:xfrm>
          <a:prstGeom prst="rect">
            <a:avLst/>
          </a:prstGeom>
          <a:solidFill>
            <a:srgbClr val="FF6700"/>
          </a:solidFill>
          <a:ln>
            <a:solidFill>
              <a:srgbClr val="FF6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6" name="object 16">
            <a:extLst>
              <a:ext uri="{FF2B5EF4-FFF2-40B4-BE49-F238E27FC236}">
                <a16:creationId xmlns:a16="http://schemas.microsoft.com/office/drawing/2014/main" id="{76D70734-EB9B-C584-F064-7C8380B05D49}"/>
              </a:ext>
            </a:extLst>
          </p:cNvPr>
          <p:cNvSpPr txBox="1"/>
          <p:nvPr/>
        </p:nvSpPr>
        <p:spPr>
          <a:xfrm>
            <a:off x="3214150" y="4006612"/>
            <a:ext cx="5561342" cy="66518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400" b="1" spc="-100" dirty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Area 4 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endParaRPr lang="en-GB" sz="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facilitate marketing of goods and services produced in Luxembourg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better direct the national defence effort also towards our economy</a:t>
            </a:r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DC4A7779-6FCA-43CA-A21B-1D4EF5E96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70904994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764461-69D3-6868-B9BC-9C1942F017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30BEF67-3029-C2A5-5D51-CCCA44F2A4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0" imgH="501" progId="TCLayout.ActiveDocument.1">
                  <p:embed/>
                </p:oleObj>
              </mc:Choice>
              <mc:Fallback>
                <p:oleObj name="think-cell Slide" r:id="rId4" imgW="500" imgH="50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6A5762-9D2F-D7DA-A89F-B41B8F39C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13A4067-B35E-47B0-1082-87750007B65A}"/>
              </a:ext>
            </a:extLst>
          </p:cNvPr>
          <p:cNvSpPr/>
          <p:nvPr/>
        </p:nvSpPr>
        <p:spPr>
          <a:xfrm rot="16200000">
            <a:off x="5491496" y="-490194"/>
            <a:ext cx="795234" cy="6004950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4AAC816-0D03-AEBF-A885-5DFBC605ABB4}"/>
              </a:ext>
            </a:extLst>
          </p:cNvPr>
          <p:cNvSpPr/>
          <p:nvPr/>
        </p:nvSpPr>
        <p:spPr>
          <a:xfrm rot="16200000">
            <a:off x="5213609" y="-1665531"/>
            <a:ext cx="1351011" cy="6004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248F50E-E55E-1DDC-1294-F075B943F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87" y="657914"/>
            <a:ext cx="8640000" cy="504112"/>
          </a:xfrm>
        </p:spPr>
        <p:txBody>
          <a:bodyPr vert="horz"/>
          <a:lstStyle/>
          <a:p>
            <a:r>
              <a:rPr lang="fr-CH" dirty="0"/>
              <a:t>NATO </a:t>
            </a:r>
            <a:r>
              <a:rPr lang="fr-CH" dirty="0" err="1"/>
              <a:t>Industry</a:t>
            </a:r>
            <a:br>
              <a:rPr lang="fr-CH" dirty="0"/>
            </a:br>
            <a:r>
              <a:rPr lang="fr-CH" dirty="0"/>
              <a:t>Advisory Group</a:t>
            </a:r>
            <a:br>
              <a:rPr lang="fr-CH" dirty="0"/>
            </a:br>
            <a:r>
              <a:rPr lang="fr-CH" dirty="0"/>
              <a:t>(NIAG)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71F317-E389-A421-077A-A2FC5D0C4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1588" y="4816800"/>
            <a:ext cx="180000" cy="97200"/>
          </a:xfrm>
        </p:spPr>
        <p:txBody>
          <a:bodyPr/>
          <a:lstStyle/>
          <a:p>
            <a:fld id="{020A4007-B15C-4364-BF0A-8D607DB62D85}" type="slidenum">
              <a:rPr lang="en-GB" smtClean="0"/>
              <a:pPr/>
              <a:t>4</a:t>
            </a:fld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87A4034-8908-14FB-7620-D2719EB9B942}"/>
              </a:ext>
            </a:extLst>
          </p:cNvPr>
          <p:cNvGrpSpPr/>
          <p:nvPr/>
        </p:nvGrpSpPr>
        <p:grpSpPr>
          <a:xfrm>
            <a:off x="252169" y="3697082"/>
            <a:ext cx="2491031" cy="1036622"/>
            <a:chOff x="251999" y="2901429"/>
            <a:chExt cx="2491031" cy="1036622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16BA18AA-B0F7-8F5A-5578-DE907B34EEA8}"/>
                </a:ext>
              </a:extLst>
            </p:cNvPr>
            <p:cNvSpPr txBox="1">
              <a:spLocks/>
            </p:cNvSpPr>
            <p:nvPr/>
          </p:nvSpPr>
          <p:spPr>
            <a:xfrm>
              <a:off x="251999" y="3016607"/>
              <a:ext cx="2491031" cy="921444"/>
            </a:xfrm>
            <a:prstGeom prst="rect">
              <a:avLst/>
            </a:prstGeom>
          </p:spPr>
          <p:txBody>
            <a:bodyPr vert="horz" lIns="0" tIns="36000" rIns="0" bIns="0" rtlCol="0" anchor="t" anchorCtr="0">
              <a:noAutofit/>
            </a:bodyPr>
            <a:lstStyle>
              <a:lvl1pPr algn="l" defTabSz="685800" rtl="0" eaLnBrk="1" latinLnBrk="0" hangingPunct="1">
                <a:lnSpc>
                  <a:spcPts val="2000"/>
                </a:lnSpc>
                <a:spcBef>
                  <a:spcPts val="600"/>
                </a:spcBef>
                <a:spcAft>
                  <a:spcPts val="200"/>
                </a:spcAft>
                <a:buNone/>
                <a:defRPr sz="2400" b="1" kern="100" cap="all" spc="-100" baseline="0">
                  <a:solidFill>
                    <a:schemeClr val="bg1"/>
                  </a:solidFill>
                  <a:latin typeface="Arial Black" panose="020B0A04020102020204" pitchFamily="34" charset="0"/>
                  <a:ea typeface="+mj-ea"/>
                  <a:cs typeface="+mj-cs"/>
                </a:defRPr>
              </a:lvl1pPr>
            </a:lstStyle>
            <a:p>
              <a:pPr marL="0" indent="0" defTabSz="914333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r>
                <a:rPr lang="en-GB" sz="1600" b="1" spc="-1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CREATING Tighter industry links and </a:t>
              </a:r>
              <a:r>
                <a:rPr lang="en-GB" sz="16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interactions </a:t>
              </a:r>
              <a:r>
                <a:rPr lang="en-GB" sz="1600" b="1" spc="-1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with NATO</a:t>
              </a:r>
            </a:p>
          </p:txBody>
        </p:sp>
        <p:sp>
          <p:nvSpPr>
            <p:cNvPr id="19" name="Line 9">
              <a:extLst>
                <a:ext uri="{FF2B5EF4-FFF2-40B4-BE49-F238E27FC236}">
                  <a16:creationId xmlns:a16="http://schemas.microsoft.com/office/drawing/2014/main" id="{511929ED-E7E5-5444-9EBD-8C439A5545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831" y="2901429"/>
              <a:ext cx="288000" cy="0"/>
            </a:xfrm>
            <a:prstGeom prst="line">
              <a:avLst/>
            </a:prstGeom>
            <a:noFill/>
            <a:ln w="50800" cmpd="sng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12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4" name="object 16">
            <a:extLst>
              <a:ext uri="{FF2B5EF4-FFF2-40B4-BE49-F238E27FC236}">
                <a16:creationId xmlns:a16="http://schemas.microsoft.com/office/drawing/2014/main" id="{C43B3CC9-876D-F1E8-0AF9-D6DEC3F0F1EA}"/>
              </a:ext>
            </a:extLst>
          </p:cNvPr>
          <p:cNvSpPr txBox="1"/>
          <p:nvPr/>
        </p:nvSpPr>
        <p:spPr>
          <a:xfrm>
            <a:off x="3113383" y="808482"/>
            <a:ext cx="1826171" cy="1210973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0" indent="0" algn="r">
              <a:lnSpc>
                <a:spcPct val="90000"/>
              </a:lnSpc>
              <a:spcBef>
                <a:spcPts val="75"/>
              </a:spcBef>
              <a:buNone/>
            </a:pPr>
            <a:r>
              <a:rPr lang="fr-CH" sz="1600" b="1" spc="-100" dirty="0">
                <a:solidFill>
                  <a:srgbClr val="0091D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KEY ROLE</a:t>
            </a:r>
            <a:endParaRPr sz="1600" b="1" spc="-100" dirty="0">
              <a:solidFill>
                <a:srgbClr val="0091D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63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fr-CH" sz="1600" b="1" spc="-100" dirty="0"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63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fr-CH" sz="2000" b="1" spc="-100" dirty="0"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63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CH" sz="1600" b="1" spc="-100" dirty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3 Initial </a:t>
            </a:r>
            <a:r>
              <a:rPr lang="fr-CH" sz="1600" b="1" spc="-100" dirty="0" err="1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Priorities</a:t>
            </a:r>
            <a:endParaRPr sz="1600" b="1" spc="-100" dirty="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9EF3C8B-F68E-6205-55B8-A30E1E1287CF}"/>
              </a:ext>
            </a:extLst>
          </p:cNvPr>
          <p:cNvSpPr txBox="1"/>
          <p:nvPr/>
        </p:nvSpPr>
        <p:spPr>
          <a:xfrm>
            <a:off x="5102198" y="665380"/>
            <a:ext cx="3789392" cy="1347071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anchor="ctr">
            <a:noAutofit/>
          </a:bodyPr>
          <a:lstStyle>
            <a:defPPr>
              <a:defRPr lang="en-GB"/>
            </a:defPPr>
            <a:lvl1pPr marL="0" indent="0">
              <a:buNone/>
              <a:defRPr sz="1600" spc="-10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GB" dirty="0"/>
              <a:t>Enhance NATO’s leverage of commercial space sector products, services and advice</a:t>
            </a:r>
          </a:p>
        </p:txBody>
      </p:sp>
      <p:sp>
        <p:nvSpPr>
          <p:cNvPr id="30" name="object 16">
            <a:extLst>
              <a:ext uri="{FF2B5EF4-FFF2-40B4-BE49-F238E27FC236}">
                <a16:creationId xmlns:a16="http://schemas.microsoft.com/office/drawing/2014/main" id="{B924D598-0226-1369-32E2-2B2DED77D002}"/>
              </a:ext>
            </a:extLst>
          </p:cNvPr>
          <p:cNvSpPr txBox="1"/>
          <p:nvPr/>
        </p:nvSpPr>
        <p:spPr>
          <a:xfrm>
            <a:off x="3113384" y="2196671"/>
            <a:ext cx="5662109" cy="63748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400" b="1" spc="-100" dirty="0">
                <a:solidFill>
                  <a:srgbClr val="0091D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Priority 1 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endParaRPr lang="en-GB" sz="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CENET advice on NATO’s Commercial Space Strategic Framework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national industry inputs (incl. LUX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82A5234-060D-65CE-20F2-6F0B0B72EF12}"/>
              </a:ext>
            </a:extLst>
          </p:cNvPr>
          <p:cNvSpPr/>
          <p:nvPr/>
        </p:nvSpPr>
        <p:spPr>
          <a:xfrm rot="16200000">
            <a:off x="5491496" y="420103"/>
            <a:ext cx="795234" cy="6004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" name="object 16">
            <a:extLst>
              <a:ext uri="{FF2B5EF4-FFF2-40B4-BE49-F238E27FC236}">
                <a16:creationId xmlns:a16="http://schemas.microsoft.com/office/drawing/2014/main" id="{0B029568-EC7D-6153-4D4A-0761376D75E0}"/>
              </a:ext>
            </a:extLst>
          </p:cNvPr>
          <p:cNvSpPr txBox="1"/>
          <p:nvPr/>
        </p:nvSpPr>
        <p:spPr>
          <a:xfrm>
            <a:off x="3113384" y="3106968"/>
            <a:ext cx="5662109" cy="63748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400" b="1" spc="-100" dirty="0">
                <a:solidFill>
                  <a:srgbClr val="0091D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Priority 2 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endParaRPr lang="en-GB" sz="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TOP-DOWN Approach to Calls for Problems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Focus on first and immediate urgent needs in SPACE (in-orbit and on-ground) defined by NATO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CC3C29E-E438-6852-5FB5-368D51FCC4BD}"/>
              </a:ext>
            </a:extLst>
          </p:cNvPr>
          <p:cNvSpPr/>
          <p:nvPr/>
        </p:nvSpPr>
        <p:spPr>
          <a:xfrm rot="16200000">
            <a:off x="5491499" y="1333612"/>
            <a:ext cx="795234" cy="60049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" name="object 16">
            <a:extLst>
              <a:ext uri="{FF2B5EF4-FFF2-40B4-BE49-F238E27FC236}">
                <a16:creationId xmlns:a16="http://schemas.microsoft.com/office/drawing/2014/main" id="{8930D2E0-B371-D1FB-EB22-DB872D1B20B4}"/>
              </a:ext>
            </a:extLst>
          </p:cNvPr>
          <p:cNvSpPr txBox="1"/>
          <p:nvPr/>
        </p:nvSpPr>
        <p:spPr>
          <a:xfrm>
            <a:off x="3113383" y="4020477"/>
            <a:ext cx="5662109" cy="63748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400" b="1" spc="-100" dirty="0">
                <a:solidFill>
                  <a:srgbClr val="0091D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Priority 3 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endParaRPr lang="en-GB" sz="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BOTTOM-UP Approach to Calls for Problems</a:t>
            </a:r>
          </a:p>
          <a:p>
            <a:pPr marL="0" indent="0">
              <a:lnSpc>
                <a:spcPct val="90000"/>
              </a:lnSpc>
              <a:spcBef>
                <a:spcPts val="75"/>
              </a:spcBef>
              <a:buNone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Allow Industry to recommend problems / mission gaps which commercial systems could fill for NATO</a:t>
            </a:r>
          </a:p>
        </p:txBody>
      </p:sp>
      <p:pic>
        <p:nvPicPr>
          <p:cNvPr id="2" name="Picture 6" descr="NIAG">
            <a:extLst>
              <a:ext uri="{FF2B5EF4-FFF2-40B4-BE49-F238E27FC236}">
                <a16:creationId xmlns:a16="http://schemas.microsoft.com/office/drawing/2014/main" id="{D4836155-4B38-5BDC-F898-002F3296F0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86" y="1802977"/>
            <a:ext cx="1561715" cy="780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8">
            <a:extLst>
              <a:ext uri="{FF2B5EF4-FFF2-40B4-BE49-F238E27FC236}">
                <a16:creationId xmlns:a16="http://schemas.microsoft.com/office/drawing/2014/main" id="{FA01EC62-C586-6D89-B7AE-FE6C0810F7C7}"/>
              </a:ext>
            </a:extLst>
          </p:cNvPr>
          <p:cNvSpPr txBox="1">
            <a:spLocks/>
          </p:cNvSpPr>
          <p:nvPr/>
        </p:nvSpPr>
        <p:spPr>
          <a:xfrm>
            <a:off x="251586" y="2654226"/>
            <a:ext cx="2491031" cy="5041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91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spcAft>
                <a:spcPts val="0"/>
              </a:spcAft>
              <a:buFontTx/>
            </a:pPr>
            <a:r>
              <a:rPr lang="fr-CH" dirty="0"/>
              <a:t>NIAG - SPACENET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3740BA3-193F-3013-D528-BA0549528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</p:spTree>
    <p:extLst>
      <p:ext uri="{BB962C8B-B14F-4D97-AF65-F5344CB8AC3E}">
        <p14:creationId xmlns:p14="http://schemas.microsoft.com/office/powerpoint/2010/main" val="1117642713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4" descr="A picture containing sky, grass, nature, lush&#10;&#10;Description automatically generated">
            <a:extLst>
              <a:ext uri="{FF2B5EF4-FFF2-40B4-BE49-F238E27FC236}">
                <a16:creationId xmlns:a16="http://schemas.microsoft.com/office/drawing/2014/main" id="{9D62E5BA-8645-360D-290C-0F2B34050B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588" y="1138928"/>
            <a:ext cx="8640000" cy="3340800"/>
          </a:xfrm>
          <a:prstGeom prst="rect">
            <a:avLst/>
          </a:prstGeom>
          <a:noFill/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25C5BB6-0DD6-4575-1A7D-821AEDD7D427}"/>
              </a:ext>
            </a:extLst>
          </p:cNvPr>
          <p:cNvSpPr txBox="1">
            <a:spLocks/>
          </p:cNvSpPr>
          <p:nvPr/>
        </p:nvSpPr>
        <p:spPr>
          <a:xfrm>
            <a:off x="2628475" y="2637625"/>
            <a:ext cx="3559032" cy="504112"/>
          </a:xfrm>
          <a:prstGeom prst="rect">
            <a:avLst/>
          </a:prstGeom>
        </p:spPr>
        <p:txBody>
          <a:bodyPr vert="horz" lIns="0" tIns="0" rIns="0" bIns="0" rtlCol="0" anchor="t" anchorCtr="0">
            <a:normAutofit lnSpcReduction="10000"/>
          </a:bodyPr>
          <a:lstStyle>
            <a:lvl1pPr marL="0" indent="0" algn="l" defTabSz="685783" rtl="0" eaLnBrk="1" latinLnBrk="0" hangingPunct="1">
              <a:lnSpc>
                <a:spcPct val="103000"/>
              </a:lnSpc>
              <a:spcBef>
                <a:spcPts val="600"/>
              </a:spcBef>
              <a:spcAft>
                <a:spcPts val="0"/>
              </a:spcAft>
              <a:buFont typeface="Wingdings 3" panose="05040102010807070707" pitchFamily="18" charset="2"/>
              <a:buNone/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9012" indent="0" algn="l" defTabSz="685783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003" indent="0" algn="l" defTabSz="685783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6993" indent="0" algn="l" defTabSz="685783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570" indent="0" algn="l" defTabSz="685783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974" indent="-143996" algn="l" defTabSz="685783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5970" indent="-143996" algn="l" defTabSz="685783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966" indent="-143996" algn="l" defTabSz="685783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9962" indent="-143996" algn="l" defTabSz="685783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1000"/>
              </a:lnSpc>
              <a:spcBef>
                <a:spcPct val="0"/>
              </a:spcBef>
              <a:spcAft>
                <a:spcPts val="600"/>
              </a:spcAft>
            </a:pPr>
            <a:r>
              <a:rPr lang="en-GB" sz="4000" b="1" kern="1200"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62253959-2843-4E96-85DA-AFF9A27C5F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711588" y="4816800"/>
            <a:ext cx="180000" cy="97200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spcAft>
                <a:spcPts val="600"/>
              </a:spcAft>
            </a:pPr>
            <a:fld id="{020A4007-B15C-4364-BF0A-8D607DB62D85}" type="slidenum">
              <a:rPr lang="en-GB" smtClean="0"/>
              <a:pPr>
                <a:spcAft>
                  <a:spcPts val="600"/>
                </a:spcAft>
              </a:pPr>
              <a:t>5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E44EF9B-D489-FE41-A158-60BBE8FD57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50917881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E4855F-D990-5424-5F8F-0A8A63F9BB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atellite network around the earth&#10;&#10;Description automatically generated">
            <a:extLst>
              <a:ext uri="{FF2B5EF4-FFF2-40B4-BE49-F238E27FC236}">
                <a16:creationId xmlns:a16="http://schemas.microsoft.com/office/drawing/2014/main" id="{DBA95444-7A5B-874C-E1C9-511FA1BA0D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412" y="2064627"/>
            <a:ext cx="8641782" cy="2874773"/>
          </a:xfrm>
          <a:prstGeom prst="rect">
            <a:avLst/>
          </a:prstGeom>
        </p:spPr>
      </p:pic>
      <p:sp>
        <p:nvSpPr>
          <p:cNvPr id="20" name="Title 19">
            <a:extLst>
              <a:ext uri="{FF2B5EF4-FFF2-40B4-BE49-F238E27FC236}">
                <a16:creationId xmlns:a16="http://schemas.microsoft.com/office/drawing/2014/main" id="{47705C1A-8A68-AEB1-1839-450224C6F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9600" y="575582"/>
            <a:ext cx="5701987" cy="1242120"/>
          </a:xfrm>
        </p:spPr>
        <p:txBody>
          <a:bodyPr/>
          <a:lstStyle/>
          <a:p>
            <a:r>
              <a:rPr lang="en-GB" dirty="0"/>
              <a:t>Annex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94728EDF-B4BF-73DB-1082-E4C708B6F1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9600" y="1534090"/>
            <a:ext cx="5521988" cy="216000"/>
          </a:xfrm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GB" dirty="0" err="1"/>
              <a:t>Luxinnovation</a:t>
            </a:r>
            <a:r>
              <a:rPr lang="en-GB" dirty="0"/>
              <a:t> Defence Technology and Innovation Day 2024</a:t>
            </a:r>
          </a:p>
          <a:p>
            <a:pPr>
              <a:lnSpc>
                <a:spcPct val="100000"/>
              </a:lnSpc>
            </a:pPr>
            <a:r>
              <a:rPr lang="en-GB" dirty="0"/>
              <a:t>Esch/</a:t>
            </a:r>
            <a:r>
              <a:rPr lang="en-GB" dirty="0" err="1"/>
              <a:t>Alzette</a:t>
            </a:r>
            <a:r>
              <a:rPr lang="en-GB" dirty="0"/>
              <a:t>, 4 November 2024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478DFDB8-1B0F-F25F-E0A5-229E56C83B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20A4007-B15C-4364-BF0A-8D607DB62D85}" type="slidenum">
              <a:rPr lang="en-GB" smtClean="0"/>
              <a:pPr/>
              <a:t>6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34F2E2-8021-2CDE-AEA7-46179F7C2A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746" y="1276915"/>
            <a:ext cx="1771650" cy="51435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9BE2F6C-3F16-0D98-8109-0075A1D8A7EF}"/>
              </a:ext>
            </a:extLst>
          </p:cNvPr>
          <p:cNvGrpSpPr/>
          <p:nvPr/>
        </p:nvGrpSpPr>
        <p:grpSpPr>
          <a:xfrm>
            <a:off x="229281" y="1965985"/>
            <a:ext cx="8757845" cy="3203101"/>
            <a:chOff x="-78655" y="1940398"/>
            <a:chExt cx="8757845" cy="3203101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B0864C3-9E29-FD05-D1F3-72D21D83E66D}"/>
                </a:ext>
              </a:extLst>
            </p:cNvPr>
            <p:cNvGrpSpPr/>
            <p:nvPr/>
          </p:nvGrpSpPr>
          <p:grpSpPr>
            <a:xfrm>
              <a:off x="-78655" y="1940398"/>
              <a:ext cx="3218232" cy="3203101"/>
              <a:chOff x="183488" y="1923193"/>
              <a:chExt cx="2803179" cy="2790000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90D0CA7-65E6-5432-B05B-AA7A96A5014F}"/>
                  </a:ext>
                </a:extLst>
              </p:cNvPr>
              <p:cNvGrpSpPr/>
              <p:nvPr/>
            </p:nvGrpSpPr>
            <p:grpSpPr>
              <a:xfrm>
                <a:off x="183488" y="1923193"/>
                <a:ext cx="2803179" cy="2790000"/>
                <a:chOff x="183488" y="1923193"/>
                <a:chExt cx="2803179" cy="2790000"/>
              </a:xfrm>
            </p:grpSpPr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C28C5E80-4B0A-4A04-D7FD-4018A76DEF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3488" y="2290206"/>
                  <a:ext cx="2803179" cy="388084"/>
                </a:xfrm>
                <a:prstGeom prst="line">
                  <a:avLst/>
                </a:prstGeom>
                <a:ln w="952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359672D0-B224-4641-F23B-47B9F2BF0E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3323" y="1923193"/>
                  <a:ext cx="1160599" cy="2790000"/>
                </a:xfrm>
                <a:prstGeom prst="line">
                  <a:avLst/>
                </a:prstGeom>
                <a:ln w="952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BE030739-FCC8-09B1-38E2-90E777428203}"/>
                  </a:ext>
                </a:extLst>
              </p:cNvPr>
              <p:cNvSpPr/>
              <p:nvPr/>
            </p:nvSpPr>
            <p:spPr bwMode="hidden">
              <a:xfrm>
                <a:off x="252000" y="1924342"/>
                <a:ext cx="450000" cy="450000"/>
              </a:xfrm>
              <a:prstGeom prst="rect">
                <a:avLst/>
              </a:prstGeom>
              <a:solidFill>
                <a:srgbClr val="B40082">
                  <a:alpha val="0"/>
                </a:srgbClr>
              </a:solidFill>
              <a:ln w="6350">
                <a:solidFill>
                  <a:schemeClr val="accent3">
                    <a:alpha val="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46DECC1-7EBA-E46F-CE33-64A910089FEB}"/>
                </a:ext>
              </a:extLst>
            </p:cNvPr>
            <p:cNvCxnSpPr>
              <a:cxnSpLocks/>
            </p:cNvCxnSpPr>
            <p:nvPr/>
          </p:nvCxnSpPr>
          <p:spPr>
            <a:xfrm>
              <a:off x="5492225" y="3145970"/>
              <a:ext cx="3186965" cy="441219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64AEE4-FF29-6300-708D-2FFA4118CDF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70892555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>
            <a:extLst>
              <a:ext uri="{FF2B5EF4-FFF2-40B4-BE49-F238E27FC236}">
                <a16:creationId xmlns:a16="http://schemas.microsoft.com/office/drawing/2014/main" id="{60561DFD-DFDD-EB69-6C12-10EC0A1C69DD}"/>
              </a:ext>
            </a:extLst>
          </p:cNvPr>
          <p:cNvSpPr/>
          <p:nvPr/>
        </p:nvSpPr>
        <p:spPr>
          <a:xfrm>
            <a:off x="2337711" y="2208933"/>
            <a:ext cx="2368762" cy="2523405"/>
          </a:xfrm>
          <a:custGeom>
            <a:avLst/>
            <a:gdLst>
              <a:gd name="connsiteX0" fmla="*/ 0 w 4284381"/>
              <a:gd name="connsiteY0" fmla="*/ 0 h 1064650"/>
              <a:gd name="connsiteX1" fmla="*/ 4284381 w 4284381"/>
              <a:gd name="connsiteY1" fmla="*/ 0 h 1064650"/>
              <a:gd name="connsiteX2" fmla="*/ 4284381 w 4284381"/>
              <a:gd name="connsiteY2" fmla="*/ 1064650 h 1064650"/>
              <a:gd name="connsiteX3" fmla="*/ 0 w 4284381"/>
              <a:gd name="connsiteY3" fmla="*/ 1064650 h 1064650"/>
              <a:gd name="connsiteX4" fmla="*/ 0 w 4284381"/>
              <a:gd name="connsiteY4" fmla="*/ 0 h 1064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4381" h="1064650">
                <a:moveTo>
                  <a:pt x="0" y="0"/>
                </a:moveTo>
                <a:lnTo>
                  <a:pt x="4284381" y="0"/>
                </a:lnTo>
                <a:lnTo>
                  <a:pt x="4284381" y="1064650"/>
                </a:lnTo>
                <a:lnTo>
                  <a:pt x="0" y="10646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08000" bIns="14400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Establish </a:t>
            </a:r>
            <a:r>
              <a:rPr lang="en-US" sz="1200" b="1" dirty="0">
                <a:solidFill>
                  <a:schemeClr val="bg1"/>
                </a:solidFill>
              </a:rPr>
              <a:t>clear expectations </a:t>
            </a:r>
            <a:r>
              <a:rPr lang="en-US" sz="1200" dirty="0">
                <a:solidFill>
                  <a:schemeClr val="bg1"/>
                </a:solidFill>
              </a:rPr>
              <a:t>for continuity of operations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</a:pPr>
            <a:endParaRPr lang="en-US" sz="7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Decide </a:t>
            </a:r>
            <a:r>
              <a:rPr lang="en-US" sz="1200" b="1" dirty="0">
                <a:solidFill>
                  <a:schemeClr val="bg1"/>
                </a:solidFill>
              </a:rPr>
              <a:t>if / how / when to actively defend </a:t>
            </a:r>
            <a:r>
              <a:rPr lang="en-US" sz="1200" dirty="0">
                <a:solidFill>
                  <a:schemeClr val="bg1"/>
                </a:solidFill>
              </a:rPr>
              <a:t>commercial space partners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82A2FC21-8AB3-5F30-EE6E-CBD1073C908D}"/>
              </a:ext>
            </a:extLst>
          </p:cNvPr>
          <p:cNvSpPr/>
          <p:nvPr/>
        </p:nvSpPr>
        <p:spPr>
          <a:xfrm>
            <a:off x="4776109" y="2208933"/>
            <a:ext cx="2368762" cy="2523405"/>
          </a:xfrm>
          <a:custGeom>
            <a:avLst/>
            <a:gdLst>
              <a:gd name="connsiteX0" fmla="*/ 0 w 4284381"/>
              <a:gd name="connsiteY0" fmla="*/ 0 h 1069413"/>
              <a:gd name="connsiteX1" fmla="*/ 4284381 w 4284381"/>
              <a:gd name="connsiteY1" fmla="*/ 0 h 1069413"/>
              <a:gd name="connsiteX2" fmla="*/ 4284381 w 4284381"/>
              <a:gd name="connsiteY2" fmla="*/ 1069413 h 1069413"/>
              <a:gd name="connsiteX3" fmla="*/ 0 w 4284381"/>
              <a:gd name="connsiteY3" fmla="*/ 1069413 h 1069413"/>
              <a:gd name="connsiteX4" fmla="*/ 0 w 4284381"/>
              <a:gd name="connsiteY4" fmla="*/ 0 h 1069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4381" h="1069413">
                <a:moveTo>
                  <a:pt x="0" y="0"/>
                </a:moveTo>
                <a:lnTo>
                  <a:pt x="4284381" y="0"/>
                </a:lnTo>
                <a:lnTo>
                  <a:pt x="4284381" y="1069413"/>
                </a:lnTo>
                <a:lnTo>
                  <a:pt x="0" y="10694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08000" bIns="14400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Create a </a:t>
            </a:r>
            <a:r>
              <a:rPr lang="en-US" sz="1200" b="1" dirty="0">
                <a:solidFill>
                  <a:schemeClr val="bg1"/>
                </a:solidFill>
              </a:rPr>
              <a:t>NATO office and portal </a:t>
            </a:r>
            <a:r>
              <a:rPr lang="en-US" sz="1200" dirty="0">
                <a:solidFill>
                  <a:schemeClr val="bg1"/>
                </a:solidFill>
              </a:rPr>
              <a:t>that makes NATO more accessible to Industry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</a:pPr>
            <a:endParaRPr lang="en-US" sz="7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“Right-size” </a:t>
            </a:r>
            <a:r>
              <a:rPr lang="en-US" sz="1200" b="1" dirty="0">
                <a:solidFill>
                  <a:schemeClr val="bg1"/>
                </a:solidFill>
              </a:rPr>
              <a:t>contract and financing options </a:t>
            </a:r>
            <a:r>
              <a:rPr lang="en-US" sz="1200" dirty="0">
                <a:solidFill>
                  <a:schemeClr val="bg1"/>
                </a:solidFill>
              </a:rPr>
              <a:t>to make NATO more accessible to Industry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</a:pPr>
            <a:endParaRPr lang="en-US" sz="7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Build </a:t>
            </a:r>
            <a:r>
              <a:rPr lang="en-US" sz="1200" b="1" dirty="0">
                <a:solidFill>
                  <a:schemeClr val="bg1"/>
                </a:solidFill>
              </a:rPr>
              <a:t>relationships</a:t>
            </a:r>
            <a:r>
              <a:rPr lang="en-US" sz="1200" dirty="0">
                <a:solidFill>
                  <a:schemeClr val="bg1"/>
                </a:solidFill>
              </a:rPr>
              <a:t> with commercial companies via roadmaps, test events, and contrac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92593A-9976-1F3A-C5C3-D0AAD4FBA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414" y="676275"/>
            <a:ext cx="1330854" cy="1423458"/>
          </a:xfrm>
        </p:spPr>
        <p:txBody>
          <a:bodyPr/>
          <a:lstStyle/>
          <a:p>
            <a:r>
              <a:rPr lang="en-US" dirty="0"/>
              <a:t>NATO Commercial Space Strateg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44104-2ED3-ACDE-863F-A862615B6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1588" y="4816800"/>
            <a:ext cx="180000" cy="97200"/>
          </a:xfrm>
        </p:spPr>
        <p:txBody>
          <a:bodyPr/>
          <a:lstStyle>
            <a:defPPr>
              <a:defRPr lang="en-GB"/>
            </a:defPPr>
            <a:lvl1pPr marL="0" indent="0" algn="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 3" panose="05040102010807070707" pitchFamily="18" charset="2"/>
              <a:buNone/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2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3050404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4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6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8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30000" indent="-144000" algn="l" defTabSz="685800" rtl="0" eaLnBrk="1" latinLnBrk="0" hangingPunct="1">
              <a:lnSpc>
                <a:spcPct val="103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0A4007-B15C-4364-BF0A-8D607DB62D85}" type="slidenum">
              <a:rPr lang="en-GB" smtClean="0"/>
              <a:pPr/>
              <a:t>7</a:t>
            </a:fld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CAA7B6A-DE2C-7E59-73C0-6CCAE41D5D13}"/>
              </a:ext>
            </a:extLst>
          </p:cNvPr>
          <p:cNvGrpSpPr/>
          <p:nvPr/>
        </p:nvGrpSpPr>
        <p:grpSpPr>
          <a:xfrm>
            <a:off x="252170" y="3177129"/>
            <a:ext cx="2071564" cy="1036622"/>
            <a:chOff x="251999" y="2901429"/>
            <a:chExt cx="2491031" cy="1036622"/>
          </a:xfrm>
        </p:grpSpPr>
        <p:sp>
          <p:nvSpPr>
            <p:cNvPr id="5" name="Title 1">
              <a:extLst>
                <a:ext uri="{FF2B5EF4-FFF2-40B4-BE49-F238E27FC236}">
                  <a16:creationId xmlns:a16="http://schemas.microsoft.com/office/drawing/2014/main" id="{100442EE-4D1A-8BC9-E274-4AEB3160133E}"/>
                </a:ext>
              </a:extLst>
            </p:cNvPr>
            <p:cNvSpPr txBox="1">
              <a:spLocks/>
            </p:cNvSpPr>
            <p:nvPr/>
          </p:nvSpPr>
          <p:spPr>
            <a:xfrm>
              <a:off x="251999" y="3016607"/>
              <a:ext cx="2491031" cy="921444"/>
            </a:xfrm>
            <a:prstGeom prst="rect">
              <a:avLst/>
            </a:prstGeom>
          </p:spPr>
          <p:txBody>
            <a:bodyPr vert="horz" lIns="0" tIns="36000" rIns="0" bIns="0" rtlCol="0" anchor="t" anchorCtr="0">
              <a:noAutofit/>
            </a:bodyPr>
            <a:lstStyle>
              <a:lvl1pPr algn="l" defTabSz="685800" rtl="0" eaLnBrk="1" latinLnBrk="0" hangingPunct="1">
                <a:lnSpc>
                  <a:spcPts val="2000"/>
                </a:lnSpc>
                <a:spcBef>
                  <a:spcPts val="600"/>
                </a:spcBef>
                <a:spcAft>
                  <a:spcPts val="200"/>
                </a:spcAft>
                <a:buNone/>
                <a:defRPr sz="2400" b="1" kern="100" cap="all" spc="-100" baseline="0">
                  <a:solidFill>
                    <a:schemeClr val="bg1"/>
                  </a:solidFill>
                  <a:latin typeface="Arial Black" panose="020B0A04020102020204" pitchFamily="34" charset="0"/>
                  <a:ea typeface="+mj-ea"/>
                  <a:cs typeface="+mj-cs"/>
                </a:defRPr>
              </a:lvl1pPr>
            </a:lstStyle>
            <a:p>
              <a:pPr marL="0" indent="0" defTabSz="914333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r>
                <a:rPr lang="en-GB" sz="1600" b="1" spc="-1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PRIORITY 1: </a:t>
              </a:r>
              <a:br>
                <a:rPr lang="en-GB" sz="1600" b="1" spc="-1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</a:br>
              <a:br>
                <a:rPr lang="en-GB" sz="1600" b="1" spc="-1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</a:br>
              <a:r>
                <a:rPr lang="en-GB" sz="1600" b="1" spc="-100" dirty="0">
                  <a:solidFill>
                    <a:srgbClr val="2490D8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NIAG-SPACENET advice on THE NATO Commercial Space Strategic Framework</a:t>
              </a:r>
            </a:p>
            <a:p>
              <a:pPr marL="0" indent="0" defTabSz="914333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endParaRPr lang="en-GB" sz="1600" b="1" spc="-100" dirty="0">
                <a:solidFill>
                  <a:srgbClr val="2490D8"/>
                </a:solidFill>
                <a:latin typeface="Arial Black" panose="020B0604020202020204" pitchFamily="34" charset="0"/>
                <a:cs typeface="Arial Black" panose="020B0604020202020204" pitchFamily="34" charset="0"/>
              </a:endParaRPr>
            </a:p>
          </p:txBody>
        </p:sp>
        <p:sp>
          <p:nvSpPr>
            <p:cNvPr id="7" name="Line 9">
              <a:extLst>
                <a:ext uri="{FF2B5EF4-FFF2-40B4-BE49-F238E27FC236}">
                  <a16:creationId xmlns:a16="http://schemas.microsoft.com/office/drawing/2014/main" id="{38BEDDBA-4240-6251-8C99-AFAF821A31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831" y="2901429"/>
              <a:ext cx="288000" cy="0"/>
            </a:xfrm>
            <a:prstGeom prst="line">
              <a:avLst/>
            </a:prstGeom>
            <a:noFill/>
            <a:ln w="50800" cmpd="sng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12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CAC89373-2ECF-92B5-66BE-6F5BFAD054A5}"/>
              </a:ext>
            </a:extLst>
          </p:cNvPr>
          <p:cNvSpPr/>
          <p:nvPr/>
        </p:nvSpPr>
        <p:spPr>
          <a:xfrm rot="16200000">
            <a:off x="4890544" y="-1905261"/>
            <a:ext cx="1441226" cy="65608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57CF22-C3DC-9B75-48CC-96BBCCBE39E0}"/>
              </a:ext>
            </a:extLst>
          </p:cNvPr>
          <p:cNvSpPr txBox="1"/>
          <p:nvPr/>
        </p:nvSpPr>
        <p:spPr>
          <a:xfrm>
            <a:off x="4776109" y="658505"/>
            <a:ext cx="4115477" cy="144122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anchor="t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sz="1600" spc="-10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Provide NATO with a strategic framework for its engagement with the commercial space sector</a:t>
            </a:r>
          </a:p>
          <a:p>
            <a:pPr marL="0" indent="0">
              <a:buNone/>
            </a:pPr>
            <a:endParaRPr lang="en-GB" sz="100" spc="-100" dirty="0">
              <a:solidFill>
                <a:schemeClr val="bg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342900" indent="-342900">
              <a:buFont typeface="+mj-lt"/>
              <a:buAutoNum type="arabicPeriod" startAt="2"/>
            </a:pPr>
            <a:r>
              <a:rPr lang="en-GB" sz="1600" spc="-10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Deliver to Industry a clear demand signal about NATO priorities </a:t>
            </a: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69B3E609-7D9A-FFF0-4021-D8500D36A185}"/>
              </a:ext>
            </a:extLst>
          </p:cNvPr>
          <p:cNvSpPr txBox="1"/>
          <p:nvPr/>
        </p:nvSpPr>
        <p:spPr>
          <a:xfrm>
            <a:off x="2563905" y="813295"/>
            <a:ext cx="1974315" cy="1272528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0" indent="0" algn="r">
              <a:lnSpc>
                <a:spcPct val="90000"/>
              </a:lnSpc>
              <a:spcBef>
                <a:spcPts val="75"/>
              </a:spcBef>
              <a:buNone/>
            </a:pPr>
            <a:r>
              <a:rPr lang="fr-CH" sz="1600" b="1" spc="-100" dirty="0">
                <a:solidFill>
                  <a:srgbClr val="0091D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GOALS</a:t>
            </a:r>
            <a:endParaRPr sz="1600" b="1" spc="-100" dirty="0">
              <a:solidFill>
                <a:srgbClr val="0091D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63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fr-CH" sz="1600" b="1" spc="-100" dirty="0"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63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fr-CH" sz="700" b="1" spc="-100" dirty="0"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marL="63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CH" sz="1600" b="1" spc="-100" dirty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Key Draft </a:t>
            </a:r>
            <a:r>
              <a:rPr lang="fr-CH" sz="1600" b="1" spc="-100" dirty="0" err="1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Recommendations</a:t>
            </a:r>
            <a:endParaRPr sz="1600" b="1" spc="-100" dirty="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4" name="!!Conclusion picture">
            <a:extLst>
              <a:ext uri="{FF2B5EF4-FFF2-40B4-BE49-F238E27FC236}">
                <a16:creationId xmlns:a16="http://schemas.microsoft.com/office/drawing/2014/main" id="{8296870F-EB7E-F118-559B-0DAF06B75B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7"/>
          <a:stretch/>
        </p:blipFill>
        <p:spPr bwMode="gray">
          <a:xfrm>
            <a:off x="7234621" y="2208932"/>
            <a:ext cx="1656968" cy="2523406"/>
          </a:xfrm>
          <a:prstGeom prst="rect">
            <a:avLst/>
          </a:prstGeom>
        </p:spPr>
      </p:pic>
      <p:sp>
        <p:nvSpPr>
          <p:cNvPr id="15" name="!! Gradient">
            <a:extLst>
              <a:ext uri="{FF2B5EF4-FFF2-40B4-BE49-F238E27FC236}">
                <a16:creationId xmlns:a16="http://schemas.microsoft.com/office/drawing/2014/main" id="{7B06496D-C1AC-B079-13BC-65659E2BDFD6}"/>
              </a:ext>
            </a:extLst>
          </p:cNvPr>
          <p:cNvSpPr/>
          <p:nvPr/>
        </p:nvSpPr>
        <p:spPr bwMode="gray">
          <a:xfrm>
            <a:off x="7247871" y="2208933"/>
            <a:ext cx="1657696" cy="2532414"/>
          </a:xfrm>
          <a:prstGeom prst="rect">
            <a:avLst/>
          </a:prstGeom>
          <a:gradFill>
            <a:gsLst>
              <a:gs pos="31000">
                <a:schemeClr val="tx1">
                  <a:alpha val="0"/>
                </a:schemeClr>
              </a:gs>
              <a:gs pos="68000">
                <a:schemeClr val="tx1"/>
              </a:gs>
            </a:gsLst>
            <a:lin ang="4800000" scaled="0"/>
          </a:gradFill>
        </p:spPr>
        <p:txBody>
          <a:bodyPr wrap="square" lIns="144000" tIns="144000" rIns="144000" bIns="144000" rtlCol="0" anchor="t" anchorCtr="0">
            <a:noAutofit/>
          </a:bodyPr>
          <a:lstStyle/>
          <a:p>
            <a:pPr marL="0" indent="0">
              <a:buNone/>
            </a:pPr>
            <a:endParaRPr lang="en-US" sz="1100" b="1">
              <a:solidFill>
                <a:schemeClr val="bg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16" name="!! Gradient">
            <a:extLst>
              <a:ext uri="{FF2B5EF4-FFF2-40B4-BE49-F238E27FC236}">
                <a16:creationId xmlns:a16="http://schemas.microsoft.com/office/drawing/2014/main" id="{91EA4DD1-0E3B-8C60-3793-AF98BAEEC056}"/>
              </a:ext>
            </a:extLst>
          </p:cNvPr>
          <p:cNvSpPr/>
          <p:nvPr/>
        </p:nvSpPr>
        <p:spPr bwMode="gray">
          <a:xfrm>
            <a:off x="7241610" y="2208933"/>
            <a:ext cx="1656968" cy="2532413"/>
          </a:xfrm>
          <a:prstGeom prst="rect">
            <a:avLst/>
          </a:prstGeom>
          <a:gradFill>
            <a:gsLst>
              <a:gs pos="61000">
                <a:schemeClr val="accent3">
                  <a:alpha val="16000"/>
                </a:schemeClr>
              </a:gs>
              <a:gs pos="40000">
                <a:schemeClr val="accent1">
                  <a:alpha val="23000"/>
                </a:schemeClr>
              </a:gs>
              <a:gs pos="0">
                <a:schemeClr val="accent1"/>
              </a:gs>
              <a:gs pos="91000">
                <a:schemeClr val="accent3">
                  <a:alpha val="86000"/>
                </a:schemeClr>
              </a:gs>
            </a:gsLst>
            <a:lin ang="2700000" scaled="0"/>
          </a:gradFill>
        </p:spPr>
        <p:txBody>
          <a:bodyPr wrap="square" lIns="144000" tIns="144000" rIns="144000" bIns="144000" rtlCol="0" anchor="t" anchorCtr="0">
            <a:noAutofit/>
          </a:bodyPr>
          <a:lstStyle/>
          <a:p>
            <a:pPr marL="0" indent="0">
              <a:buNone/>
            </a:pPr>
            <a:endParaRPr lang="en-US" sz="1100" b="1">
              <a:solidFill>
                <a:schemeClr val="bg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A792A77-038F-236A-9AE9-98D933D9C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Luxinnovation Defence Technology and Innovation Day
Esch/Alzette, 4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450251871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S_O3b_mPOWER_Template_16x9_2022">
  <a:themeElements>
    <a:clrScheme name="SES Colours">
      <a:dk1>
        <a:srgbClr val="000000"/>
      </a:dk1>
      <a:lt1>
        <a:srgbClr val="FFFFFF"/>
      </a:lt1>
      <a:dk2>
        <a:srgbClr val="000000"/>
      </a:dk2>
      <a:lt2>
        <a:srgbClr val="282828"/>
      </a:lt2>
      <a:accent1>
        <a:srgbClr val="0091D2"/>
      </a:accent1>
      <a:accent2>
        <a:srgbClr val="004691"/>
      </a:accent2>
      <a:accent3>
        <a:srgbClr val="B40082"/>
      </a:accent3>
      <a:accent4>
        <a:srgbClr val="6E2D87"/>
      </a:accent4>
      <a:accent5>
        <a:srgbClr val="AEB8C3"/>
      </a:accent5>
      <a:accent6>
        <a:srgbClr val="505A64"/>
      </a:accent6>
      <a:hlink>
        <a:srgbClr val="0091D2"/>
      </a:hlink>
      <a:folHlink>
        <a:srgbClr val="0091D2"/>
      </a:folHlink>
    </a:clrScheme>
    <a:fontScheme name="S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custClrLst>
    <a:custClr name="SES Cyan Blue">
      <a:srgbClr val="0091D2"/>
    </a:custClr>
    <a:custClr name="SES Dark Blue">
      <a:srgbClr val="004691"/>
    </a:custClr>
    <a:custClr name="SES Magenta">
      <a:srgbClr val="B40082"/>
    </a:custClr>
    <a:custClr name="SES Purple">
      <a:srgbClr val="6E2D87"/>
    </a:custClr>
    <a:custClr name="SES Light Grey">
      <a:srgbClr val="AEB8C3"/>
    </a:custClr>
    <a:custClr name="SES Dark Grey">
      <a:srgbClr val="505A64"/>
    </a:custClr>
    <a:custClr name="SES Black">
      <a:srgbClr val="000000"/>
    </a:custClr>
  </a:custClrLst>
  <a:extLst>
    <a:ext uri="{05A4C25C-085E-4340-85A3-A5531E510DB2}">
      <thm15:themeFamily xmlns:thm15="http://schemas.microsoft.com/office/thememl/2012/main" name="SES_&amp;_O3b_mPOWER_template_16x9 - full" id="{2ED6EF1C-CFC2-EC4F-A6CE-5B7BD10DE78D}" vid="{42506F8E-2F5B-CC43-9646-FAFCBFE4B42A}"/>
    </a:ext>
  </a:extLst>
</a:theme>
</file>

<file path=ppt/theme/theme2.xml><?xml version="1.0" encoding="utf-8"?>
<a:theme xmlns:a="http://schemas.openxmlformats.org/drawingml/2006/main" name="O3b_mPOWER_16x9_Template_2022">
  <a:themeElements>
    <a:clrScheme name="SES Colours">
      <a:dk1>
        <a:srgbClr val="000000"/>
      </a:dk1>
      <a:lt1>
        <a:srgbClr val="FFFFFF"/>
      </a:lt1>
      <a:dk2>
        <a:srgbClr val="000000"/>
      </a:dk2>
      <a:lt2>
        <a:srgbClr val="282828"/>
      </a:lt2>
      <a:accent1>
        <a:srgbClr val="0091D2"/>
      </a:accent1>
      <a:accent2>
        <a:srgbClr val="004691"/>
      </a:accent2>
      <a:accent3>
        <a:srgbClr val="B40082"/>
      </a:accent3>
      <a:accent4>
        <a:srgbClr val="6E2D87"/>
      </a:accent4>
      <a:accent5>
        <a:srgbClr val="AEB8C3"/>
      </a:accent5>
      <a:accent6>
        <a:srgbClr val="505A64"/>
      </a:accent6>
      <a:hlink>
        <a:srgbClr val="0091D2"/>
      </a:hlink>
      <a:folHlink>
        <a:srgbClr val="0091D2"/>
      </a:folHlink>
    </a:clrScheme>
    <a:fontScheme name="S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custClrLst>
    <a:custClr name="SES Cyan Blue">
      <a:srgbClr val="0091D2"/>
    </a:custClr>
    <a:custClr name="SES Dark Blue">
      <a:srgbClr val="004691"/>
    </a:custClr>
    <a:custClr name="SES Magenta">
      <a:srgbClr val="B40082"/>
    </a:custClr>
    <a:custClr name="SES Purple">
      <a:srgbClr val="6E2D87"/>
    </a:custClr>
    <a:custClr name="SES Light Grey">
      <a:srgbClr val="AEB8C3"/>
    </a:custClr>
    <a:custClr name="SES Dark Grey">
      <a:srgbClr val="505A64"/>
    </a:custClr>
    <a:custClr name="SES Black">
      <a:srgbClr val="000000"/>
    </a:custClr>
  </a:custClrLst>
  <a:extLst>
    <a:ext uri="{05A4C25C-085E-4340-85A3-A5531E510DB2}">
      <thm15:themeFamily xmlns:thm15="http://schemas.microsoft.com/office/thememl/2012/main" name="SES_&amp;_O3b_mPOWER_template_16x9 - full" id="{2ED6EF1C-CFC2-EC4F-A6CE-5B7BD10DE78D}" vid="{9AA55F05-A71F-224E-BC52-D70BD5BB8C8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FBFC560E425742B9BE645241F8239C" ma:contentTypeVersion="" ma:contentTypeDescription="Create a new document." ma:contentTypeScope="" ma:versionID="4acbc4df87476d7bf2624291d97365fb">
  <xsd:schema xmlns:xsd="http://www.w3.org/2001/XMLSchema" xmlns:xs="http://www.w3.org/2001/XMLSchema" xmlns:p="http://schemas.microsoft.com/office/2006/metadata/properties" xmlns:ns2="30fcbba2-7f90-4287-9ddb-ab56f23a3d18" xmlns:ns3="61a79b08-0854-4adf-8cb2-29eaa0cc3c1e" xmlns:ns4="6a5bd1c3-3d04-460a-8a9b-8bafcdb67b40" targetNamespace="http://schemas.microsoft.com/office/2006/metadata/properties" ma:root="true" ma:fieldsID="a7732b2a8e0a683855784f633000fd47" ns2:_="" ns3:_="" ns4:_="">
    <xsd:import namespace="30fcbba2-7f90-4287-9ddb-ab56f23a3d18"/>
    <xsd:import namespace="61a79b08-0854-4adf-8cb2-29eaa0cc3c1e"/>
    <xsd:import namespace="6a5bd1c3-3d04-460a-8a9b-8bafcdb67b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fcbba2-7f90-4287-9ddb-ab56f23a3d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1277c0c0-e927-4914-b692-dd13a4dae2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a79b08-0854-4adf-8cb2-29eaa0cc3c1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5bd1c3-3d04-460a-8a9b-8bafcdb67b40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8fea02a2-bf47-437f-bdb3-d12082a7dd61}" ma:internalName="TaxCatchAll" ma:showField="CatchAllData" ma:web="6a5bd1c3-3d04-460a-8a9b-8bafcdb67b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5934DDF-C9C3-4FF4-8A60-EE7C107C50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BCD3630-0E94-49B9-B104-95010F75CED2}">
  <ds:schemaRefs>
    <ds:schemaRef ds:uri="30fcbba2-7f90-4287-9ddb-ab56f23a3d18"/>
    <ds:schemaRef ds:uri="61a79b08-0854-4adf-8cb2-29eaa0cc3c1e"/>
    <ds:schemaRef ds:uri="6a5bd1c3-3d04-460a-8a9b-8bafcdb67b4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74b4a4d2-f55e-4cb1-9d3d-d9e45016299a}" enabled="1" method="Privileged" siteId="{88281ca8-e525-4a8d-b965-480a7ac2b970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ES_O3b_mPOWER_Template_16x9_2022</Template>
  <TotalTime>2105</TotalTime>
  <Words>533</Words>
  <Application>Microsoft Macintosh PowerPoint</Application>
  <PresentationFormat>On-screen Show (16:9)</PresentationFormat>
  <Paragraphs>100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Arial Black</vt:lpstr>
      <vt:lpstr>Calibri</vt:lpstr>
      <vt:lpstr>Wingdings</vt:lpstr>
      <vt:lpstr>Wingdings 3</vt:lpstr>
      <vt:lpstr>SES_O3b_mPOWER_Template_16x9_2022</vt:lpstr>
      <vt:lpstr>O3b_mPOWER_16x9_Template_2022</vt:lpstr>
      <vt:lpstr>think-cell Slide</vt:lpstr>
      <vt:lpstr>Luxembourg Industry Perspective</vt:lpstr>
      <vt:lpstr>Luxembourg industry reinforces its priorities and positioning towards “dual-use” Defence projects</vt:lpstr>
      <vt:lpstr>Groupe de Travail « Défense »</vt:lpstr>
      <vt:lpstr>NATO Industry Advisory Group (NIAG)</vt:lpstr>
      <vt:lpstr>PowerPoint Presentation</vt:lpstr>
      <vt:lpstr>Annex</vt:lpstr>
      <vt:lpstr>NATO Commercial Space Strategy</vt:lpstr>
    </vt:vector>
  </TitlesOfParts>
  <Manager/>
  <Company>SE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ing SES and Govsat</dc:title>
  <dc:subject/>
  <dc:creator>Irina Douziech</dc:creator>
  <cp:keywords/>
  <dc:description>SES_O3b_mPOWER_Template_16x9_2022 | graphiqa</dc:description>
  <cp:lastModifiedBy>Philippe Glaesener</cp:lastModifiedBy>
  <cp:revision>4</cp:revision>
  <dcterms:created xsi:type="dcterms:W3CDTF">2024-02-13T16:47:00Z</dcterms:created>
  <dcterms:modified xsi:type="dcterms:W3CDTF">2024-10-27T21:40:44Z</dcterms:modified>
  <cp:category/>
</cp:coreProperties>
</file>